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1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54" r:id="rId2"/>
  </p:sldMasterIdLst>
  <p:notesMasterIdLst>
    <p:notesMasterId r:id="rId35"/>
  </p:notesMasterIdLst>
  <p:handoutMasterIdLst>
    <p:handoutMasterId r:id="rId36"/>
  </p:handoutMasterIdLst>
  <p:sldIdLst>
    <p:sldId id="295" r:id="rId3"/>
    <p:sldId id="430" r:id="rId4"/>
    <p:sldId id="386" r:id="rId5"/>
    <p:sldId id="1097" r:id="rId6"/>
    <p:sldId id="387" r:id="rId7"/>
    <p:sldId id="378" r:id="rId8"/>
    <p:sldId id="379" r:id="rId9"/>
    <p:sldId id="381" r:id="rId10"/>
    <p:sldId id="382" r:id="rId11"/>
    <p:sldId id="383" r:id="rId12"/>
    <p:sldId id="385" r:id="rId13"/>
    <p:sldId id="384" r:id="rId14"/>
    <p:sldId id="388" r:id="rId15"/>
    <p:sldId id="389" r:id="rId16"/>
    <p:sldId id="380" r:id="rId17"/>
    <p:sldId id="390" r:id="rId18"/>
    <p:sldId id="391" r:id="rId19"/>
    <p:sldId id="1098" r:id="rId20"/>
    <p:sldId id="393" r:id="rId21"/>
    <p:sldId id="394" r:id="rId22"/>
    <p:sldId id="395" r:id="rId23"/>
    <p:sldId id="396" r:id="rId24"/>
    <p:sldId id="397" r:id="rId25"/>
    <p:sldId id="398" r:id="rId26"/>
    <p:sldId id="399" r:id="rId27"/>
    <p:sldId id="400" r:id="rId28"/>
    <p:sldId id="401" r:id="rId29"/>
    <p:sldId id="402" r:id="rId30"/>
    <p:sldId id="404" r:id="rId31"/>
    <p:sldId id="405" r:id="rId32"/>
    <p:sldId id="403" r:id="rId33"/>
    <p:sldId id="1096" r:id="rId34"/>
  </p:sldIdLst>
  <p:sldSz cx="9904413" cy="6859588"/>
  <p:notesSz cx="6797675" cy="9874250"/>
  <p:custDataLst>
    <p:tags r:id="rId37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3" orient="horz" pos="3975" userDrawn="1">
          <p15:clr>
            <a:srgbClr val="A4A3A4"/>
          </p15:clr>
        </p15:guide>
        <p15:guide id="4" orient="horz" pos="4066" userDrawn="1">
          <p15:clr>
            <a:srgbClr val="A4A3A4"/>
          </p15:clr>
        </p15:guide>
        <p15:guide id="5" orient="horz" pos="868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19" userDrawn="1">
          <p15:clr>
            <a:srgbClr val="A4A3A4"/>
          </p15:clr>
        </p15:guide>
        <p15:guide id="9" pos="3210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90" userDrawn="1">
          <p15:clr>
            <a:srgbClr val="A4A3A4"/>
          </p15:clr>
        </p15:guide>
        <p15:guide id="12" pos="3028" userDrawn="1">
          <p15:clr>
            <a:srgbClr val="A4A3A4"/>
          </p15:clr>
        </p15:guide>
        <p15:guide id="13" pos="171" userDrawn="1">
          <p15:clr>
            <a:srgbClr val="A4A3A4"/>
          </p15:clr>
        </p15:guide>
        <p15:guide id="14" pos="5954" userDrawn="1">
          <p15:clr>
            <a:srgbClr val="A4A3A4"/>
          </p15:clr>
        </p15:guide>
        <p15:guide id="15" pos="2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43" autoAdjust="0"/>
    <p:restoredTop sz="94348" autoAdjust="0"/>
  </p:normalViewPr>
  <p:slideViewPr>
    <p:cSldViewPr snapToObjects="1" showGuides="1">
      <p:cViewPr varScale="1">
        <p:scale>
          <a:sx n="64" d="100"/>
          <a:sy n="64" d="100"/>
        </p:scale>
        <p:origin x="824" y="40"/>
      </p:cViewPr>
      <p:guideLst>
        <p:guide orient="horz" pos="731"/>
        <p:guide orient="horz" pos="187"/>
        <p:guide orient="horz" pos="3975"/>
        <p:guide orient="horz" pos="4066"/>
        <p:guide orient="horz" pos="868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90204" pitchFamily="34" charset="0"/>
                <a:cs typeface="Arial" panose="020B0604020202090204" pitchFamily="34" charset="0"/>
              </a:rPr>
              <a:t>11/14/2024</a:t>
            </a:fld>
            <a:endParaRPr lang="en-US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90204" pitchFamily="34" charset="0"/>
                <a:cs typeface="Arial" panose="020B0604020202090204" pitchFamily="34" charset="0"/>
              </a:rPr>
              <a:t>‹#›</a:t>
            </a:fld>
            <a:endParaRPr lang="en-US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11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90204" pitchFamily="34" charset="0"/>
        <a:ea typeface="+mn-ea"/>
        <a:cs typeface="Arial" panose="020B060402020209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90204" pitchFamily="34" charset="0"/>
        <a:ea typeface="+mn-ea"/>
        <a:cs typeface="Arial" panose="020B060402020209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90204" pitchFamily="34" charset="0"/>
        <a:ea typeface="+mn-ea"/>
        <a:cs typeface="Arial" panose="020B060402020209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90204" pitchFamily="34" charset="0"/>
        <a:ea typeface="+mn-ea"/>
        <a:cs typeface="Arial" panose="020B060402020209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90204" pitchFamily="34" charset="0"/>
        <a:ea typeface="+mn-ea"/>
        <a:cs typeface="Arial" panose="020B060402020209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‌‌</a:t>
            </a:r>
            <a:r>
              <a:rPr lang="en-US" altLang="zh-CN" dirty="0"/>
              <a:t>API</a:t>
            </a:r>
            <a:r>
              <a:rPr lang="zh-CN" altLang="en-US" dirty="0"/>
              <a:t>（‌</a:t>
            </a:r>
            <a:r>
              <a:rPr lang="en-US" altLang="zh-CN" dirty="0"/>
              <a:t>Application Programming Interface</a:t>
            </a:r>
            <a:r>
              <a:rPr lang="zh-CN" altLang="en-US" dirty="0"/>
              <a:t>，应用程序编程接口）是一组预先定义的函数或方法，允许软件应用或组件之间相互通信和交互。‌ </a:t>
            </a:r>
            <a:r>
              <a:rPr lang="en-US" altLang="zh-CN" dirty="0"/>
              <a:t>API</a:t>
            </a:r>
            <a:r>
              <a:rPr lang="zh-CN" altLang="en-US" dirty="0"/>
              <a:t>定义了不同软件应用或组件之间如何相互沟通和交互的方法，它相当于一个中间件，允许开发者访问和使用某些功能或数据，而无需了解背后的详细实现。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‌‌</a:t>
            </a:r>
            <a:r>
              <a:rPr lang="en-US" altLang="zh-CN" dirty="0"/>
              <a:t>API</a:t>
            </a:r>
            <a:r>
              <a:rPr lang="zh-CN" altLang="en-US" dirty="0"/>
              <a:t>（‌</a:t>
            </a:r>
            <a:r>
              <a:rPr lang="en-US" altLang="zh-CN" dirty="0"/>
              <a:t>Application Programming Interface</a:t>
            </a:r>
            <a:r>
              <a:rPr lang="zh-CN" altLang="en-US" dirty="0"/>
              <a:t>，应用程序编程接口）是一组预先定义的函数或方法，允许软件应用或组件之间相互通信和交互。‌ </a:t>
            </a:r>
            <a:r>
              <a:rPr lang="en-US" altLang="zh-CN" dirty="0"/>
              <a:t>API</a:t>
            </a:r>
            <a:r>
              <a:rPr lang="zh-CN" altLang="en-US" dirty="0"/>
              <a:t>定义了不同软件应用或组件之间如何相互沟通和交互的方法，它相当于一个中间件，允许开发者访问和使用某些功能或数据，而无需了解背后的详细实现。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Parquet</a:t>
            </a:r>
            <a:r>
              <a:rPr lang="zh-CN" altLang="en-US" dirty="0"/>
              <a:t>与</a:t>
            </a:r>
            <a:r>
              <a:rPr lang="en-US" altLang="zh-CN" dirty="0"/>
              <a:t>CSV</a:t>
            </a:r>
            <a:r>
              <a:rPr lang="zh-CN" altLang="en-US" dirty="0"/>
              <a:t>的比较</a:t>
            </a:r>
          </a:p>
          <a:p>
            <a:r>
              <a:rPr lang="zh-CN" altLang="en-US" dirty="0"/>
              <a:t>与简单的</a:t>
            </a:r>
            <a:r>
              <a:rPr lang="en-US" altLang="zh-CN" dirty="0"/>
              <a:t>CSV</a:t>
            </a:r>
            <a:r>
              <a:rPr lang="zh-CN" altLang="en-US" dirty="0"/>
              <a:t>格式相比，</a:t>
            </a:r>
            <a:r>
              <a:rPr lang="en-US" altLang="zh-CN" dirty="0"/>
              <a:t>Parquet</a:t>
            </a:r>
            <a:r>
              <a:rPr lang="zh-CN" altLang="en-US" dirty="0"/>
              <a:t>在存储和处理大数据集时具有明显优势：</a:t>
            </a:r>
          </a:p>
          <a:p>
            <a:r>
              <a:rPr lang="zh-CN" altLang="en-US" dirty="0"/>
              <a:t>（</a:t>
            </a:r>
            <a:r>
              <a:rPr lang="en-US" altLang="zh-CN" dirty="0"/>
              <a:t>1</a:t>
            </a:r>
            <a:r>
              <a:rPr lang="zh-CN" altLang="en-US" dirty="0"/>
              <a:t>）存储效率：</a:t>
            </a:r>
            <a:r>
              <a:rPr lang="en-US" altLang="zh-CN" dirty="0"/>
              <a:t>Parquet</a:t>
            </a:r>
            <a:r>
              <a:rPr lang="zh-CN" altLang="en-US" dirty="0"/>
              <a:t>在云存储上的需求比</a:t>
            </a:r>
            <a:r>
              <a:rPr lang="en-US" altLang="zh-CN" dirty="0"/>
              <a:t>CSV</a:t>
            </a:r>
            <a:r>
              <a:rPr lang="zh-CN" altLang="en-US" dirty="0"/>
              <a:t>小得多。</a:t>
            </a:r>
          </a:p>
          <a:p>
            <a:r>
              <a:rPr lang="zh-CN" altLang="en-US" dirty="0"/>
              <a:t>（</a:t>
            </a:r>
            <a:r>
              <a:rPr lang="en-US" altLang="zh-CN" dirty="0"/>
              <a:t>2</a:t>
            </a:r>
            <a:r>
              <a:rPr lang="zh-CN" altLang="en-US" dirty="0"/>
              <a:t>）查询性能：</a:t>
            </a:r>
            <a:r>
              <a:rPr lang="en-US" altLang="zh-CN" dirty="0"/>
              <a:t>Parquet</a:t>
            </a:r>
            <a:r>
              <a:rPr lang="zh-CN" altLang="en-US" dirty="0"/>
              <a:t>的查询速度远高于</a:t>
            </a:r>
            <a:r>
              <a:rPr lang="en-US" altLang="zh-CN" dirty="0"/>
              <a:t>CSV</a:t>
            </a:r>
            <a:r>
              <a:rPr lang="zh-CN" altLang="en-US" dirty="0"/>
              <a:t>，特别是在处理大数据时。</a:t>
            </a:r>
          </a:p>
          <a:p>
            <a:r>
              <a:rPr lang="zh-CN" altLang="en-US" dirty="0"/>
              <a:t>（</a:t>
            </a:r>
            <a:r>
              <a:rPr lang="en-US" altLang="zh-CN" dirty="0"/>
              <a:t>3</a:t>
            </a:r>
            <a:r>
              <a:rPr lang="zh-CN" altLang="en-US" dirty="0"/>
              <a:t>）成本节约：使用</a:t>
            </a:r>
            <a:r>
              <a:rPr lang="en-US" altLang="zh-CN" dirty="0"/>
              <a:t>Parquet</a:t>
            </a:r>
            <a:r>
              <a:rPr lang="zh-CN" altLang="en-US" dirty="0"/>
              <a:t>可以大幅降低存储和数据扫描成本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201738" y="1143000"/>
            <a:ext cx="44545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补充</a:t>
            </a:r>
            <a:r>
              <a:rPr lang="en-US" altLang="zh-CN" dirty="0"/>
              <a:t>estimate equation 1</a:t>
            </a:r>
            <a:r>
              <a:rPr lang="zh-CN" altLang="en-US" dirty="0"/>
              <a:t>，前面有涉及到的也需补充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2CF1902-BED5-4303-AE72-62E3097384C0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 pitchFamily="34" charset="0"/>
                <a:ea typeface="宋体" pitchFamily="2" charset="-122"/>
                <a:cs typeface="Arial" panose="020B0604020202090204" pitchFamily="34" charset="0"/>
              </a:rPr>
              <a:t>3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90204" pitchFamily="34" charset="0"/>
              <a:ea typeface="宋体" pitchFamily="2" charset="-122"/>
              <a:cs typeface="Arial" panose="020B060402020209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9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9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9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自定义版式"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9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BFA73-30EA-4C9C-9BAE-BCC83FA495D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9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9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9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3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90204" pitchFamily="34" charset="0"/>
                <a:cs typeface="Arial" panose="020B060402020209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9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9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9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9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9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9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9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9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9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9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9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9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9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9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wmf"/><Relationship Id="rId4" Type="http://schemas.openxmlformats.org/officeDocument/2006/relationships/oleObject" Target="../embeddings/oleObject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2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8" Type="http://schemas.openxmlformats.org/officeDocument/2006/relationships/tags" Target="../tags/tag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559718" y="4526493"/>
            <a:ext cx="8532948" cy="443198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 Group Members: Lu </a:t>
            </a:r>
            <a:r>
              <a:rPr lang="en-US" sz="1600" dirty="0" err="1">
                <a:latin typeface="+mj-lt"/>
              </a:rPr>
              <a:t>Junning</a:t>
            </a:r>
            <a:r>
              <a:rPr lang="en-US" sz="1600" dirty="0">
                <a:latin typeface="+mj-lt"/>
              </a:rPr>
              <a:t>, Zhang </a:t>
            </a:r>
            <a:r>
              <a:rPr lang="en-US" sz="1600" dirty="0" err="1">
                <a:latin typeface="+mj-lt"/>
              </a:rPr>
              <a:t>Yuhan</a:t>
            </a:r>
            <a:r>
              <a:rPr lang="en-US" sz="1600" dirty="0">
                <a:latin typeface="+mj-lt"/>
              </a:rPr>
              <a:t>, Ma </a:t>
            </a:r>
            <a:r>
              <a:rPr lang="en-US" sz="1600" dirty="0" err="1">
                <a:latin typeface="+mj-lt"/>
              </a:rPr>
              <a:t>Shichang</a:t>
            </a:r>
            <a:r>
              <a:rPr lang="en-US" sz="1600" dirty="0">
                <a:latin typeface="+mj-lt"/>
              </a:rPr>
              <a:t>, You </a:t>
            </a:r>
            <a:r>
              <a:rPr lang="en-US" sz="1600" dirty="0" err="1">
                <a:latin typeface="+mj-lt"/>
              </a:rPr>
              <a:t>Huimei</a:t>
            </a:r>
            <a:r>
              <a:rPr lang="en-US" sz="1600" dirty="0">
                <a:latin typeface="+mj-lt"/>
              </a:rPr>
              <a:t>, Sun </a:t>
            </a:r>
            <a:r>
              <a:rPr lang="en-US" sz="1600" dirty="0" err="1">
                <a:latin typeface="+mj-lt"/>
              </a:rPr>
              <a:t>Kexin</a:t>
            </a:r>
            <a:endParaRPr lang="en-US" sz="1600" dirty="0">
              <a:latin typeface="+mj-lt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>
          <a:xfrm>
            <a:off x="638541" y="4149874"/>
            <a:ext cx="5063092" cy="221599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Nov 7, 2024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71683" y="2493690"/>
            <a:ext cx="9361046" cy="1166113"/>
          </a:xfrm>
        </p:spPr>
        <p:txBody>
          <a:bodyPr/>
          <a:lstStyle/>
          <a:p>
            <a:r>
              <a:rPr lang="en-US" sz="3200" dirty="0">
                <a:latin typeface="+mj-lt"/>
              </a:rPr>
              <a:t>EP Factor </a:t>
            </a:r>
            <a:r>
              <a:rPr lang="en-US" sz="3200" dirty="0" err="1">
                <a:latin typeface="+mj-lt"/>
              </a:rPr>
              <a:t>Backtesting</a:t>
            </a:r>
            <a:r>
              <a:rPr lang="zh-CN" altLang="en-US" sz="3200" dirty="0">
                <a:latin typeface="+mj-lt"/>
              </a:rPr>
              <a:t> </a:t>
            </a:r>
            <a:br>
              <a:rPr lang="en-US" altLang="zh-CN" sz="3200" dirty="0">
                <a:latin typeface="+mj-lt"/>
              </a:rPr>
            </a:br>
            <a:r>
              <a:rPr lang="en-US" altLang="zh-CN" sz="3200" dirty="0">
                <a:latin typeface="+mj-lt"/>
              </a:rPr>
              <a:t>for</a:t>
            </a:r>
            <a:r>
              <a:rPr lang="zh-CN" altLang="en-US" sz="3200" dirty="0">
                <a:latin typeface="+mj-lt"/>
              </a:rPr>
              <a:t> </a:t>
            </a:r>
            <a:r>
              <a:rPr lang="en-US" altLang="zh-CN" sz="3200" dirty="0">
                <a:latin typeface="+mj-lt"/>
              </a:rPr>
              <a:t>Quantitative Financial Investment</a:t>
            </a:r>
            <a:br>
              <a:rPr lang="en-US" altLang="zh-CN" sz="3200" dirty="0">
                <a:latin typeface="+mj-lt"/>
              </a:rPr>
            </a:br>
            <a:endParaRPr lang="en-US" sz="3200" dirty="0">
              <a:latin typeface="+mj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ata import</a:t>
            </a:r>
            <a:endParaRPr lang="en-US" altLang="zh-CN" sz="1600" dirty="0">
              <a:solidFill>
                <a:srgbClr val="CCCCCC"/>
              </a:solidFill>
            </a:endParaRPr>
          </a:p>
          <a:p>
            <a:pPr lvl="2">
              <a:lnSpc>
                <a:spcPct val="100000"/>
              </a:lnSpc>
              <a:spcBef>
                <a:spcPts val="1500"/>
              </a:spcBef>
            </a:pPr>
            <a:r>
              <a:rPr lang="en-US" altLang="zh-CN" sz="2000" dirty="0" err="1">
                <a:latin typeface="+mn-lt"/>
              </a:rPr>
              <a:t>factor_calculation</a:t>
            </a:r>
            <a:r>
              <a:rPr lang="en-US" altLang="zh-CN" sz="2000" dirty="0">
                <a:latin typeface="+mn-lt"/>
              </a:rPr>
              <a:t> method:</a:t>
            </a:r>
            <a:r>
              <a:rPr lang="zh-CN" altLang="en-US" sz="2000" dirty="0">
                <a:latin typeface="+mn-lt"/>
              </a:rPr>
              <a:t> </a:t>
            </a:r>
            <a:r>
              <a:rPr lang="en-US" altLang="zh-CN" sz="2000" dirty="0">
                <a:latin typeface="+mn-lt"/>
              </a:rPr>
              <a:t>calculates the earnings-to-price ratio (EP factor) for the stocks.</a:t>
            </a:r>
            <a:endParaRPr lang="en-US" altLang="zh-CN" sz="1600" b="1" dirty="0">
              <a:solidFill>
                <a:srgbClr val="CCCCCC"/>
              </a:solidFill>
              <a:effectLst/>
            </a:endParaRPr>
          </a:p>
          <a:p>
            <a:pPr marL="324485" lvl="2" indent="0">
              <a:buNone/>
            </a:pPr>
            <a:r>
              <a:rPr lang="en-US" altLang="zh-CN" sz="1600" b="0" dirty="0">
                <a:effectLst/>
                <a:latin typeface="+mn-lt"/>
              </a:rPr>
              <a:t>    ……</a:t>
            </a:r>
            <a:endParaRPr lang="en-US" altLang="zh-CN" sz="1600" b="1" dirty="0">
              <a:solidFill>
                <a:srgbClr val="CCCCCC"/>
              </a:solidFill>
              <a:effectLst/>
              <a:latin typeface="+mn-lt"/>
            </a:endParaRPr>
          </a:p>
          <a:p>
            <a:pPr marL="324485" lvl="2" indent="0">
              <a:lnSpc>
                <a:spcPct val="100000"/>
              </a:lnSpc>
              <a:buNone/>
            </a:pPr>
            <a:b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</a:b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</a:t>
            </a:r>
            <a:r>
              <a:rPr lang="zh-CN" altLang="en-US" sz="1800" b="0" dirty="0">
                <a:solidFill>
                  <a:srgbClr val="CCCCCC"/>
                </a:solidFill>
                <a:effectLst/>
                <a:latin typeface="+mn-lt"/>
              </a:rPr>
              <a:t>    </a:t>
            </a:r>
            <a:r>
              <a:rPr lang="en-US" altLang="zh-CN" sz="18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def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factor_calculation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: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800" b="0" dirty="0">
                <a:solidFill>
                  <a:srgbClr val="CCCCCC"/>
                </a:solidFill>
                <a:effectLst/>
                <a:latin typeface="+mn-lt"/>
              </a:rPr>
              <a:t>   </a:t>
            </a:r>
            <a:r>
              <a:rPr lang="zh-CN" altLang="en-US" sz="1800" b="1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zh-CN" altLang="en-US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   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f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_data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merge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industry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on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how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left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f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[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rade_date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close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e_ttm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industry’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]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	# </a:t>
            </a:r>
            <a:r>
              <a:rPr lang="en-US" altLang="zh-CN" sz="1800" dirty="0">
                <a:solidFill>
                  <a:srgbClr val="6A9955"/>
                </a:solidFill>
                <a:latin typeface="+mn-lt"/>
              </a:rPr>
              <a:t>C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alculate the earnings-to-price ratio (EP)</a:t>
            </a:r>
            <a:r>
              <a:rPr lang="en-US" altLang="zh-CN" sz="1800" dirty="0">
                <a:solidFill>
                  <a:srgbClr val="6A9955"/>
                </a:solidFill>
                <a:latin typeface="+mn-lt"/>
              </a:rPr>
              <a:t>:</a:t>
            </a:r>
            <a:r>
              <a:rPr lang="zh-CN" altLang="en-US" sz="1800" dirty="0">
                <a:solidFill>
                  <a:srgbClr val="6A9955"/>
                </a:solidFill>
                <a:latin typeface="+mn-lt"/>
              </a:rPr>
              <a:t> 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ep = 1 /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pe_ttm</a:t>
            </a:r>
            <a:r>
              <a:rPr lang="en-US" altLang="zh-CN" sz="1800" dirty="0">
                <a:solidFill>
                  <a:srgbClr val="6A9955"/>
                </a:solidFill>
                <a:latin typeface="+mn-lt"/>
              </a:rPr>
              <a:t>,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where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pe_ttm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is the trailing twelve months price-to-earnings ratio.</a:t>
            </a:r>
            <a:endParaRPr lang="en-US" altLang="zh-CN" sz="1800" b="0" dirty="0">
              <a:solidFill>
                <a:srgbClr val="6A9955"/>
              </a:solidFill>
              <a:effectLst/>
              <a:highlight>
                <a:srgbClr val="000000"/>
              </a:highlight>
              <a:latin typeface="+mn-lt"/>
            </a:endParaRP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ep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B5CEA8"/>
                </a:solidFill>
                <a:effectLst/>
                <a:highlight>
                  <a:srgbClr val="000000"/>
                </a:highlight>
                <a:latin typeface="+mn-lt"/>
              </a:rPr>
              <a:t>1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/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e_ttm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# Refer to the professional single factor research report, fill any missing values in the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pe_ttm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and ep columns with zeros.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[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e_ttm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ep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]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[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e_ttm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ep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].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filln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value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B5CEA8"/>
                </a:solidFill>
                <a:effectLst/>
                <a:highlight>
                  <a:srgbClr val="000000"/>
                </a:highlight>
                <a:latin typeface="+mn-lt"/>
              </a:rPr>
              <a:t>0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method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None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axis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None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inplace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False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  <a:b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</a:b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>
                <a:solidFill>
                  <a:srgbClr val="C586C0"/>
                </a:solidFill>
                <a:effectLst/>
                <a:highlight>
                  <a:srgbClr val="000000"/>
                </a:highlight>
                <a:latin typeface="+mn-lt"/>
              </a:rPr>
              <a:t>return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</a:t>
            </a:r>
            <a:endParaRPr lang="en-US" altLang="zh-CN" sz="1600" dirty="0">
              <a:solidFill>
                <a:srgbClr val="9CDCFE"/>
              </a:solidFill>
              <a:latin typeface="+mn-lt"/>
            </a:endParaRPr>
          </a:p>
          <a:p>
            <a:pPr marL="474980" lvl="3" indent="0">
              <a:buNone/>
            </a:pPr>
            <a:r>
              <a:rPr lang="en-US" altLang="zh-CN" sz="1600" b="0" dirty="0">
                <a:effectLst/>
                <a:latin typeface="+mn-lt"/>
              </a:rPr>
              <a:t>  ……</a:t>
            </a:r>
            <a:endParaRPr lang="en-US" altLang="zh-CN" sz="1600" b="1" dirty="0">
              <a:solidFill>
                <a:srgbClr val="CCCCCC"/>
              </a:solidFill>
              <a:effectLst/>
              <a:latin typeface="+mn-lt"/>
            </a:endParaRPr>
          </a:p>
          <a:p>
            <a:pPr marL="474980" lvl="3" indent="0">
              <a:buNone/>
            </a:pPr>
            <a:endParaRPr lang="en-US" altLang="zh-CN" sz="1600" b="0" dirty="0">
              <a:solidFill>
                <a:srgbClr val="CCCCCC"/>
              </a:solidFill>
              <a:effectLst/>
            </a:endParaRPr>
          </a:p>
          <a:p>
            <a:pPr marL="474980" lvl="3" indent="0"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</a:rPr>
              <a:t>   </a:t>
            </a: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r>
              <a:rPr lang="zh-CN" altLang="en-US" sz="2585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2"/>
            <a:ext cx="9403035" cy="5617703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ata import</a:t>
            </a:r>
            <a:endParaRPr lang="en-US" altLang="zh-CN" sz="1600" dirty="0">
              <a:solidFill>
                <a:srgbClr val="CCCCCC"/>
              </a:solidFill>
            </a:endParaRPr>
          </a:p>
          <a:p>
            <a:pPr lvl="2">
              <a:lnSpc>
                <a:spcPct val="100000"/>
              </a:lnSpc>
              <a:spcBef>
                <a:spcPts val="1500"/>
              </a:spcBef>
            </a:pPr>
            <a:r>
              <a:rPr lang="en-US" altLang="zh-CN" sz="2000" dirty="0" err="1">
                <a:latin typeface="+mn-lt"/>
              </a:rPr>
              <a:t>data_output</a:t>
            </a:r>
            <a:r>
              <a:rPr lang="en-US" altLang="zh-CN" sz="2000" dirty="0">
                <a:latin typeface="+mn-lt"/>
              </a:rPr>
              <a:t> method: calls </a:t>
            </a:r>
            <a:r>
              <a:rPr lang="en-US" altLang="zh-CN" sz="2000" dirty="0" err="1">
                <a:latin typeface="+mn-lt"/>
              </a:rPr>
              <a:t>factor_calculation</a:t>
            </a:r>
            <a:r>
              <a:rPr lang="en-US" altLang="zh-CN" sz="2000" dirty="0">
                <a:latin typeface="+mn-lt"/>
              </a:rPr>
              <a:t> method to obtain the processed data and formats it for analysis, and reorganizes the data according to </a:t>
            </a:r>
            <a:r>
              <a:rPr lang="en-US" altLang="zh-CN" sz="2000" dirty="0" err="1">
                <a:latin typeface="+mn-lt"/>
              </a:rPr>
              <a:t>trade_date</a:t>
            </a:r>
            <a:r>
              <a:rPr lang="en-US" altLang="zh-CN" sz="2000" dirty="0">
                <a:latin typeface="+mn-lt"/>
              </a:rPr>
              <a:t> and </a:t>
            </a:r>
            <a:r>
              <a:rPr lang="en-US" altLang="zh-CN" sz="2000" dirty="0" err="1">
                <a:latin typeface="+mn-lt"/>
              </a:rPr>
              <a:t>ts_code</a:t>
            </a:r>
            <a:r>
              <a:rPr lang="en-US" altLang="zh-CN" sz="2000" dirty="0">
                <a:latin typeface="+mn-lt"/>
              </a:rPr>
              <a:t>.</a:t>
            </a:r>
            <a:endParaRPr lang="en-US" altLang="zh-CN" sz="1600" b="1" dirty="0">
              <a:solidFill>
                <a:srgbClr val="CCCCCC"/>
              </a:solidFill>
              <a:effectLst/>
            </a:endParaRPr>
          </a:p>
          <a:p>
            <a:pPr marL="324485" lvl="2" indent="0">
              <a:buNone/>
            </a:pPr>
            <a:r>
              <a:rPr lang="en-US" altLang="zh-CN" sz="1600" b="0" dirty="0">
                <a:effectLst/>
                <a:latin typeface="+mn-lt"/>
              </a:rPr>
              <a:t>    ……</a:t>
            </a:r>
            <a:endParaRPr lang="en-US" altLang="zh-CN" sz="1600" b="1" dirty="0">
              <a:solidFill>
                <a:srgbClr val="CCCCCC"/>
              </a:solidFill>
              <a:effectLst/>
              <a:latin typeface="+mn-lt"/>
            </a:endParaRPr>
          </a:p>
          <a:p>
            <a:pPr marL="520065" lvl="3" indent="0">
              <a:lnSpc>
                <a:spcPct val="100000"/>
              </a:lnSpc>
              <a:buNone/>
            </a:pPr>
            <a:b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</a:b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  </a:t>
            </a:r>
            <a:r>
              <a:rPr lang="en-US" altLang="zh-CN" sz="16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def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data_outpu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:</a:t>
            </a:r>
          </a:p>
          <a:p>
            <a:pPr marL="663575" lvl="4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 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6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factor_calculation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</a:t>
            </a:r>
          </a:p>
          <a:p>
            <a:pPr marL="663575" lvl="4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# Convert the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column from string format to datetime format using the apply method.</a:t>
            </a:r>
            <a:endParaRPr lang="zh-CN" altLang="en-US" sz="1600" b="0" dirty="0">
              <a:solidFill>
                <a:srgbClr val="CCCCCC"/>
              </a:solidFill>
              <a:effectLst/>
              <a:latin typeface="+mn-lt"/>
            </a:endParaRPr>
          </a:p>
          <a:p>
            <a:pPr marL="663575" lvl="4" indent="0">
              <a:lnSpc>
                <a:spcPct val="100000"/>
              </a:lnSpc>
              <a:buNone/>
            </a:pP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trade_date.apply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str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.apply(</a:t>
            </a:r>
            <a:r>
              <a:rPr lang="en-US" altLang="zh-CN" sz="1600" b="0" dirty="0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pars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663575" lvl="4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# Set multi-indexes on the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DataFram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with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in the first place and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in the second place, which enhances data organization for future analysis.</a:t>
            </a:r>
            <a:endParaRPr lang="zh-CN" altLang="en-US" sz="1600" b="0" dirty="0">
              <a:solidFill>
                <a:srgbClr val="CCCCCC"/>
              </a:solidFill>
              <a:effectLst/>
              <a:latin typeface="+mn-lt"/>
            </a:endParaRPr>
          </a:p>
          <a:p>
            <a:pPr marL="663575" lvl="4" indent="0">
              <a:lnSpc>
                <a:spcPct val="100000"/>
              </a:lnSpc>
              <a:buNone/>
            </a:pP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set_index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[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# Sort the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DataFram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by the two indexes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and </a:t>
            </a:r>
            <a:r>
              <a:rPr lang="en-US" altLang="zh-CN" sz="1600" b="0" dirty="0" err="1">
                <a:solidFill>
                  <a:srgbClr val="6A9955"/>
                </a:solidFill>
                <a:effectLst/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 to ensure the data is well-ordered.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sort_index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dirty="0">
                <a:solidFill>
                  <a:srgbClr val="CCCCCC"/>
                </a:solidFill>
                <a:latin typeface="+mn-lt"/>
              </a:rPr>
              <a:t>        </a:t>
            </a:r>
            <a:r>
              <a:rPr lang="en-US" altLang="zh-CN" sz="1600" b="0" dirty="0">
                <a:solidFill>
                  <a:srgbClr val="C586C0"/>
                </a:solidFill>
                <a:effectLst/>
                <a:highlight>
                  <a:srgbClr val="000000"/>
                </a:highlight>
                <a:latin typeface="+mn-lt"/>
              </a:rPr>
              <a:t>return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data</a:t>
            </a:r>
            <a:endParaRPr lang="en-US" altLang="zh-CN" sz="1600" dirty="0">
              <a:solidFill>
                <a:srgbClr val="9CDCFE"/>
              </a:solidFill>
              <a:latin typeface="+mn-lt"/>
            </a:endParaRPr>
          </a:p>
          <a:p>
            <a:pPr marL="474980" lvl="3" indent="0">
              <a:buNone/>
            </a:pPr>
            <a:r>
              <a:rPr lang="en-US" altLang="zh-CN" sz="1600" b="0" dirty="0">
                <a:effectLst/>
                <a:latin typeface="+mn-lt"/>
              </a:rPr>
              <a:t>  ……</a:t>
            </a:r>
            <a:endParaRPr lang="en-US" altLang="zh-CN" sz="1600" b="1" dirty="0">
              <a:solidFill>
                <a:srgbClr val="CCCCCC"/>
              </a:solidFill>
              <a:effectLst/>
              <a:latin typeface="+mn-lt"/>
            </a:endParaRPr>
          </a:p>
          <a:p>
            <a:pPr marL="474980" lvl="3" indent="0">
              <a:buNone/>
            </a:pPr>
            <a:endParaRPr lang="en-US" altLang="zh-CN" sz="1600" b="0" dirty="0">
              <a:solidFill>
                <a:srgbClr val="CCCCCC"/>
              </a:solidFill>
              <a:effectLst/>
            </a:endParaRPr>
          </a:p>
          <a:p>
            <a:pPr marL="474980" lvl="3" indent="0"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</a:rPr>
              <a:t>   </a:t>
            </a: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r>
              <a:rPr lang="zh-CN" altLang="en-US" sz="2585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50687" y="1016645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ata import</a:t>
            </a:r>
            <a:endParaRPr lang="en-US" altLang="zh-CN" sz="1600" dirty="0">
              <a:solidFill>
                <a:srgbClr val="CCCCCC"/>
              </a:solidFill>
            </a:endParaRPr>
          </a:p>
          <a:p>
            <a:pPr lvl="2">
              <a:lnSpc>
                <a:spcPct val="100000"/>
              </a:lnSpc>
              <a:spcBef>
                <a:spcPts val="1500"/>
              </a:spcBef>
            </a:pPr>
            <a:r>
              <a:rPr lang="en-US" altLang="zh-CN" sz="2000" dirty="0">
                <a:latin typeface="+mn-lt"/>
              </a:rPr>
              <a:t>Now </a:t>
            </a:r>
            <a:r>
              <a:rPr lang="en-US" altLang="zh-CN" sz="2000" dirty="0" err="1">
                <a:latin typeface="+mn-lt"/>
              </a:rPr>
              <a:t>stock_data</a:t>
            </a:r>
            <a:r>
              <a:rPr lang="en-US" altLang="zh-CN" sz="2000" dirty="0">
                <a:latin typeface="+mn-lt"/>
              </a:rPr>
              <a:t> is a Pandas </a:t>
            </a:r>
            <a:r>
              <a:rPr lang="en-US" altLang="zh-CN" sz="2000" dirty="0" err="1">
                <a:latin typeface="+mn-lt"/>
              </a:rPr>
              <a:t>DataFrame</a:t>
            </a:r>
            <a:r>
              <a:rPr lang="en-US" altLang="zh-CN" sz="2000" dirty="0">
                <a:latin typeface="+mn-lt"/>
              </a:rPr>
              <a:t>,</a:t>
            </a:r>
            <a:r>
              <a:rPr lang="zh-CN" altLang="en-US" sz="2000" dirty="0">
                <a:latin typeface="+mn-lt"/>
              </a:rPr>
              <a:t> </a:t>
            </a:r>
            <a:r>
              <a:rPr lang="en-US" altLang="zh-CN" sz="2000" dirty="0">
                <a:latin typeface="+mn-lt"/>
              </a:rPr>
              <a:t>and</a:t>
            </a:r>
            <a:r>
              <a:rPr lang="zh-CN" altLang="en-US" sz="2000" dirty="0">
                <a:latin typeface="+mn-lt"/>
              </a:rPr>
              <a:t> </a:t>
            </a:r>
            <a:r>
              <a:rPr lang="en-US" altLang="zh-CN" sz="2000" dirty="0">
                <a:latin typeface="+mn-lt"/>
              </a:rPr>
              <a:t>it includes </a:t>
            </a:r>
            <a:r>
              <a:rPr lang="en-US" altLang="zh-CN" sz="2000" dirty="0" err="1">
                <a:latin typeface="+mn-lt"/>
              </a:rPr>
              <a:t>trade_date</a:t>
            </a:r>
            <a:r>
              <a:rPr lang="zh-CN" altLang="en-US" sz="2000" dirty="0">
                <a:latin typeface="+mn-lt"/>
              </a:rPr>
              <a:t>：交易日期</a:t>
            </a:r>
            <a:r>
              <a:rPr lang="en-US" altLang="zh-CN" sz="2000" dirty="0">
                <a:latin typeface="+mn-lt"/>
              </a:rPr>
              <a:t>, </a:t>
            </a:r>
            <a:r>
              <a:rPr lang="en-US" altLang="zh-CN" sz="2000" dirty="0" err="1">
                <a:latin typeface="+mn-lt"/>
              </a:rPr>
              <a:t>ts_code</a:t>
            </a:r>
            <a:r>
              <a:rPr lang="zh-CN" altLang="en-US" sz="2000" dirty="0">
                <a:latin typeface="+mn-lt"/>
              </a:rPr>
              <a:t>：股票代码</a:t>
            </a:r>
            <a:r>
              <a:rPr lang="en-US" altLang="zh-CN" sz="2000" dirty="0">
                <a:latin typeface="+mn-lt"/>
              </a:rPr>
              <a:t>, close</a:t>
            </a:r>
            <a:r>
              <a:rPr lang="zh-CN" altLang="en-US" sz="2000" dirty="0">
                <a:latin typeface="+mn-lt"/>
              </a:rPr>
              <a:t>：收盘价</a:t>
            </a:r>
            <a:r>
              <a:rPr lang="en-US" altLang="zh-CN" sz="2000" dirty="0">
                <a:latin typeface="+mn-lt"/>
              </a:rPr>
              <a:t>, </a:t>
            </a:r>
            <a:r>
              <a:rPr lang="en-US" altLang="zh-CN" sz="2000" dirty="0" err="1">
                <a:latin typeface="+mn-lt"/>
              </a:rPr>
              <a:t>pe_ttm</a:t>
            </a:r>
            <a:r>
              <a:rPr lang="zh-CN" altLang="en-US" sz="2000" dirty="0">
                <a:latin typeface="+mn-lt"/>
              </a:rPr>
              <a:t>：滚动市盈率</a:t>
            </a:r>
            <a:r>
              <a:rPr lang="en-US" altLang="zh-CN" sz="2000" dirty="0">
                <a:latin typeface="+mn-lt"/>
              </a:rPr>
              <a:t>, industry</a:t>
            </a:r>
            <a:r>
              <a:rPr lang="zh-CN" altLang="en-US" sz="2000" dirty="0">
                <a:latin typeface="+mn-lt"/>
              </a:rPr>
              <a:t>：行业</a:t>
            </a:r>
            <a:r>
              <a:rPr lang="en-US" altLang="zh-CN" sz="2000" dirty="0">
                <a:latin typeface="+mn-lt"/>
              </a:rPr>
              <a:t>, ep</a:t>
            </a:r>
            <a:r>
              <a:rPr lang="zh-CN" altLang="en-US" sz="2000" dirty="0">
                <a:latin typeface="+mn-lt"/>
              </a:rPr>
              <a:t>：盈利价格比率（</a:t>
            </a:r>
            <a:r>
              <a:rPr lang="en-US" altLang="zh-CN" sz="2000" dirty="0">
                <a:latin typeface="+mn-lt"/>
              </a:rPr>
              <a:t>EP factor</a:t>
            </a:r>
            <a:r>
              <a:rPr lang="zh-CN" altLang="en-US" sz="2000" dirty="0">
                <a:latin typeface="+mn-lt"/>
              </a:rPr>
              <a:t>）</a:t>
            </a:r>
            <a:r>
              <a:rPr lang="zh-CN" altLang="en-US" sz="1600" b="1" dirty="0"/>
              <a:t>。</a:t>
            </a:r>
            <a:endParaRPr lang="en-US" altLang="zh-CN" sz="1800" dirty="0">
              <a:solidFill>
                <a:srgbClr val="CCCCCC"/>
              </a:solidFill>
              <a:latin typeface="+mn-lt"/>
            </a:endParaRPr>
          </a:p>
          <a:p>
            <a:pPr marL="539750" lvl="2" indent="0">
              <a:lnSpc>
                <a:spcPct val="100000"/>
              </a:lnSpc>
              <a:spcBef>
                <a:spcPts val="1500"/>
              </a:spcBef>
              <a:buNone/>
            </a:pP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_dat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ImportDat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.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data_output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9CDCFE"/>
                </a:solidFill>
                <a:effectLst/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_data</a:t>
            </a:r>
            <a:endParaRPr lang="en-US" altLang="zh-CN" sz="1800" b="0" dirty="0">
              <a:effectLst/>
              <a:highlight>
                <a:srgbClr val="000000"/>
              </a:highlight>
              <a:latin typeface="+mn-lt"/>
            </a:endParaRPr>
          </a:p>
          <a:p>
            <a:pPr lvl="2"/>
            <a:endParaRPr lang="en-US" sz="16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750" y="3399040"/>
            <a:ext cx="7568733" cy="3362916"/>
          </a:xfrm>
          <a:prstGeom prst="rect">
            <a:avLst/>
          </a:prstGeom>
        </p:spPr>
      </p:pic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r>
              <a:rPr lang="zh-CN" altLang="en-US" sz="2585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5842" y="1175644"/>
            <a:ext cx="6049219" cy="2943636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65658" y="4529922"/>
            <a:ext cx="9324181" cy="17235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25755" marR="0" lvl="1" indent="-133985" fontAlgn="auto"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lang="en-US" altLang="zh-CN" sz="2000" b="1" dirty="0">
                <a:solidFill>
                  <a:srgbClr val="9B1717"/>
                </a:solidFill>
                <a:cs typeface="Arial" panose="020B0604020202090204" pitchFamily="34" charset="0"/>
              </a:rPr>
              <a:t>Code Explanation:</a:t>
            </a:r>
          </a:p>
          <a:p>
            <a:pPr marL="513080" lvl="2" indent="-188595">
              <a:spcBef>
                <a:spcPts val="60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Create a grid of subplots with 3 rows and 4 columns, making a total of 12 subplots</a:t>
            </a:r>
          </a:p>
          <a:p>
            <a:pPr marL="513080" lvl="2" indent="-188595">
              <a:spcBef>
                <a:spcPts val="60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Group by the 'industry' column</a:t>
            </a:r>
          </a:p>
          <a:p>
            <a:pPr marL="513080" marR="0" lvl="2" indent="-188595" fontAlgn="auto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For each industry group, display a histogram of ‘ep’ column</a:t>
            </a:r>
          </a:p>
          <a:p>
            <a:pPr marL="513080" marR="0" lvl="2" indent="-188595" fontAlgn="auto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Display the entire figure with all the subplots</a:t>
            </a:r>
            <a:endParaRPr lang="zh-CN" altLang="en-US" sz="1800" dirty="0">
              <a:cs typeface="Arial" panose="020B0604020202090204" pitchFamily="34" charset="0"/>
            </a:endParaRPr>
          </a:p>
        </p:txBody>
      </p:sp>
      <p:sp>
        <p:nvSpPr>
          <p:cNvPr id="8" name="标题 1"/>
          <p:cNvSpPr txBox="1">
            <a:spLocks/>
          </p:cNvSpPr>
          <p:nvPr/>
        </p:nvSpPr>
        <p:spPr bwMode="auto">
          <a:xfrm>
            <a:off x="379698" y="405458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3: Data Preprocess  —  Visualization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782" y="981523"/>
            <a:ext cx="7556751" cy="5712372"/>
          </a:xfrm>
          <a:prstGeom prst="rect">
            <a:avLst/>
          </a:prstGeom>
        </p:spPr>
      </p:pic>
      <p:sp>
        <p:nvSpPr>
          <p:cNvPr id="5" name="标题 1"/>
          <p:cNvSpPr txBox="1">
            <a:spLocks/>
          </p:cNvSpPr>
          <p:nvPr/>
        </p:nvSpPr>
        <p:spPr bwMode="auto">
          <a:xfrm>
            <a:off x="379698" y="405458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3: Data Preprocess  —  Visualization 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31" y="1413570"/>
            <a:ext cx="3518790" cy="454138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5247" y="2061642"/>
            <a:ext cx="5652628" cy="3031450"/>
          </a:xfrm>
          <a:prstGeom prst="rect">
            <a:avLst/>
          </a:prstGeom>
        </p:spPr>
      </p:pic>
      <p:sp>
        <p:nvSpPr>
          <p:cNvPr id="6" name="标题 1"/>
          <p:cNvSpPr txBox="1">
            <a:spLocks/>
          </p:cNvSpPr>
          <p:nvPr/>
        </p:nvSpPr>
        <p:spPr bwMode="auto">
          <a:xfrm>
            <a:off x="379698" y="405458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3: Data Preprocess  —  Define key class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042929" y="5492675"/>
            <a:ext cx="5659698" cy="57554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utralization</a:t>
            </a:r>
            <a:r>
              <a:rPr lang="zh-CN" alt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endParaRPr lang="en-US" altLang="zh-CN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0665706"/>
              </p:ext>
            </p:extLst>
          </p:nvPr>
        </p:nvGraphicFramePr>
        <p:xfrm>
          <a:off x="4340138" y="5769088"/>
          <a:ext cx="5258234" cy="3553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4" imgW="3359160" imgH="226800" progId="Equation.AxMath">
                  <p:embed/>
                </p:oleObj>
              </mc:Choice>
              <mc:Fallback>
                <p:oleObj name="AxMath" r:id="rId4" imgW="3359160" imgH="226800" progId="Equation.AxMath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40138" y="5769088"/>
                        <a:ext cx="5258234" cy="3553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/>
        </p:nvSpPr>
        <p:spPr>
          <a:xfrm>
            <a:off x="9414595" y="5761550"/>
            <a:ext cx="288032" cy="362892"/>
          </a:xfrm>
          <a:prstGeom prst="rect">
            <a:avLst/>
          </a:prstGeom>
          <a:noFill/>
          <a:ln w="19050" cap="flat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chemeClr val="bg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圆角矩形 26"/>
          <p:cNvSpPr/>
          <p:nvPr>
            <p:custDataLst>
              <p:tags r:id="rId1"/>
            </p:custDataLst>
          </p:nvPr>
        </p:nvSpPr>
        <p:spPr>
          <a:xfrm>
            <a:off x="667730" y="1809614"/>
            <a:ext cx="2340260" cy="44486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1" u="none" strike="noStrike" kern="1200" cap="none" spc="0" normalizeH="0" baseline="0" noProof="0" dirty="0">
                <a:ln>
                  <a:noFill/>
                </a:ln>
                <a:solidFill>
                  <a:srgbClr val="B42100"/>
                </a:solidFill>
                <a:effectLst/>
                <a:uLnTx/>
                <a:uFillTx/>
                <a:latin typeface="Times New Roman" panose="02020503050405090304" pitchFamily="18" charset="0"/>
                <a:ea typeface="+mn-ea"/>
                <a:cs typeface="+mn-cs"/>
                <a:sym typeface="+mn-ea"/>
              </a:rPr>
              <a:t>Raw data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3062" y="2608868"/>
            <a:ext cx="2741912" cy="2580623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0418" y="2608867"/>
            <a:ext cx="2741912" cy="258062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710" y="2608868"/>
            <a:ext cx="2741912" cy="2580623"/>
          </a:xfrm>
          <a:prstGeom prst="rect">
            <a:avLst/>
          </a:prstGeom>
        </p:spPr>
      </p:pic>
      <p:sp>
        <p:nvSpPr>
          <p:cNvPr id="12" name="圆角矩形 26"/>
          <p:cNvSpPr/>
          <p:nvPr>
            <p:custDataLst>
              <p:tags r:id="rId2"/>
            </p:custDataLst>
          </p:nvPr>
        </p:nvSpPr>
        <p:spPr>
          <a:xfrm>
            <a:off x="7040438" y="1809614"/>
            <a:ext cx="2340260" cy="44486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1" u="none" strike="noStrike" kern="1200" cap="none" spc="0" normalizeH="0" baseline="0" noProof="0" dirty="0" err="1">
                <a:ln>
                  <a:noFill/>
                </a:ln>
                <a:solidFill>
                  <a:srgbClr val="B42100"/>
                </a:solidFill>
                <a:effectLst/>
                <a:uLnTx/>
                <a:uFillTx/>
                <a:latin typeface="Times New Roman" panose="02020503050405090304" pitchFamily="18" charset="0"/>
                <a:ea typeface="+mn-ea"/>
                <a:cs typeface="+mn-cs"/>
                <a:sym typeface="+mn-ea"/>
              </a:rPr>
              <a:t>Neuturalize</a:t>
            </a:r>
            <a:endParaRPr kumimoji="0" lang="en-US" altLang="zh-CN" sz="2800" b="1" i="1" u="none" strike="noStrike" kern="1200" cap="none" spc="0" normalizeH="0" baseline="0" noProof="0" dirty="0">
              <a:ln>
                <a:noFill/>
              </a:ln>
              <a:solidFill>
                <a:srgbClr val="B42100"/>
              </a:solidFill>
              <a:effectLst/>
              <a:uLnTx/>
              <a:uFillTx/>
              <a:latin typeface="Times New Roman" panose="02020503050405090304" pitchFamily="18" charset="0"/>
              <a:ea typeface="+mn-ea"/>
              <a:cs typeface="+mn-cs"/>
              <a:sym typeface="+mn-ea"/>
            </a:endParaRPr>
          </a:p>
        </p:txBody>
      </p:sp>
      <p:sp>
        <p:nvSpPr>
          <p:cNvPr id="13" name="圆角矩形 26"/>
          <p:cNvSpPr/>
          <p:nvPr>
            <p:custDataLst>
              <p:tags r:id="rId3"/>
            </p:custDataLst>
          </p:nvPr>
        </p:nvSpPr>
        <p:spPr>
          <a:xfrm>
            <a:off x="3867657" y="1806471"/>
            <a:ext cx="2340260" cy="44486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1" u="none" strike="noStrike" kern="1200" cap="none" spc="0" normalizeH="0" baseline="0" noProof="0" dirty="0">
                <a:ln>
                  <a:noFill/>
                </a:ln>
                <a:solidFill>
                  <a:srgbClr val="B42100"/>
                </a:solidFill>
                <a:effectLst/>
                <a:uLnTx/>
                <a:uFillTx/>
                <a:latin typeface="Times New Roman" panose="02020503050405090304" pitchFamily="18" charset="0"/>
                <a:ea typeface="+mn-ea"/>
                <a:cs typeface="+mn-cs"/>
                <a:sym typeface="+mn-ea"/>
              </a:rPr>
              <a:t>Normalize</a:t>
            </a:r>
          </a:p>
        </p:txBody>
      </p:sp>
      <p:sp>
        <p:nvSpPr>
          <p:cNvPr id="10" name="标题 1"/>
          <p:cNvSpPr txBox="1">
            <a:spLocks/>
          </p:cNvSpPr>
          <p:nvPr/>
        </p:nvSpPr>
        <p:spPr bwMode="auto">
          <a:xfrm>
            <a:off x="379698" y="405458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3: Data Preprocess  —Key outcome</a:t>
            </a:r>
          </a:p>
          <a:p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369912" y="4288326"/>
            <a:ext cx="9324181" cy="152349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25755" lvl="1" indent="-133985">
              <a:lnSpc>
                <a:spcPct val="150000"/>
              </a:lnSpc>
              <a:spcBef>
                <a:spcPts val="945"/>
              </a:spcBef>
              <a:buClr>
                <a:srgbClr val="9B1717"/>
              </a:buClr>
              <a:buFont typeface="Arial" panose="020B0604020202090204" pitchFamily="34" charset="0"/>
              <a:buChar char="•"/>
              <a:defRPr/>
            </a:pPr>
            <a:r>
              <a:rPr lang="en-US" altLang="zh-CN" sz="2000" b="1" dirty="0">
                <a:solidFill>
                  <a:srgbClr val="9B1717"/>
                </a:solidFill>
                <a:cs typeface="Arial" panose="020B0604020202090204" pitchFamily="34" charset="0"/>
              </a:rPr>
              <a:t>Code Explanation:</a:t>
            </a:r>
          </a:p>
          <a:p>
            <a:pPr marL="513080" marR="0" lvl="2" indent="-188595" fontAlgn="auto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Create a grid of subplots with 1 rows and 2 columns, making a total of 2 subplots</a:t>
            </a:r>
          </a:p>
          <a:p>
            <a:pPr marL="513080" marR="0" lvl="2" indent="-188595" fontAlgn="auto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For processed ‘ep’, display a histogram</a:t>
            </a:r>
          </a:p>
          <a:p>
            <a:pPr marL="513080" marR="0" lvl="2" indent="-188595" fontAlgn="auto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For </a:t>
            </a:r>
            <a:r>
              <a:rPr lang="en-US" altLang="zh-CN" sz="1800" dirty="0" err="1">
                <a:cs typeface="Arial" panose="020B0604020202090204" pitchFamily="34" charset="0"/>
              </a:rPr>
              <a:t>non_processed</a:t>
            </a:r>
            <a:r>
              <a:rPr lang="en-US" altLang="zh-CN" sz="1800" dirty="0">
                <a:cs typeface="Arial" panose="020B0604020202090204" pitchFamily="34" charset="0"/>
              </a:rPr>
              <a:t> ‘ep’, display a histogram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770" y="1229211"/>
            <a:ext cx="7092788" cy="2672812"/>
          </a:xfrm>
          <a:prstGeom prst="rect">
            <a:avLst/>
          </a:prstGeom>
        </p:spPr>
      </p:pic>
      <p:sp>
        <p:nvSpPr>
          <p:cNvPr id="8" name="标题 1"/>
          <p:cNvSpPr txBox="1">
            <a:spLocks/>
          </p:cNvSpPr>
          <p:nvPr/>
        </p:nvSpPr>
        <p:spPr bwMode="auto">
          <a:xfrm>
            <a:off x="379698" y="405458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3: Data Preprocess  —  Comparison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379698" y="406339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3: Data Preprocess  —  Comparison 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70" y="1449574"/>
            <a:ext cx="7552959" cy="3383287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01662" y="4905958"/>
            <a:ext cx="9324181" cy="81560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325755" lvl="1" indent="-133985">
              <a:lnSpc>
                <a:spcPct val="150000"/>
              </a:lnSpc>
              <a:spcBef>
                <a:spcPts val="945"/>
              </a:spcBef>
              <a:buClr>
                <a:srgbClr val="9B1717"/>
              </a:buClr>
              <a:buFont typeface="Arial" panose="020B0604020202090204" pitchFamily="34" charset="0"/>
              <a:buChar char="•"/>
              <a:defRPr/>
            </a:pPr>
            <a:r>
              <a:rPr lang="en-US" altLang="zh-CN" sz="2000" b="1" dirty="0">
                <a:solidFill>
                  <a:srgbClr val="9B1717"/>
                </a:solidFill>
                <a:cs typeface="Arial" panose="020B0604020202090204" pitchFamily="34" charset="0"/>
              </a:rPr>
              <a:t>Comparison:</a:t>
            </a:r>
          </a:p>
          <a:p>
            <a:pPr marL="513080" marR="0" lvl="2" indent="-188595" fontAlgn="auto"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cs typeface="Arial" panose="020B0604020202090204" pitchFamily="34" charset="0"/>
              </a:rPr>
              <a:t>More smooth and centralized after data preprocess  </a:t>
            </a:r>
          </a:p>
        </p:txBody>
      </p:sp>
    </p:spTree>
    <p:extLst>
      <p:ext uri="{BB962C8B-B14F-4D97-AF65-F5344CB8AC3E}">
        <p14:creationId xmlns:p14="http://schemas.microsoft.com/office/powerpoint/2010/main" val="18735255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406339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3" name="Text Placeholder 5"/>
          <p:cNvSpPr txBox="1"/>
          <p:nvPr/>
        </p:nvSpPr>
        <p:spPr>
          <a:xfrm>
            <a:off x="250688" y="1098330"/>
            <a:ext cx="9403035" cy="1765275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>
                <a:srgbClr val="9B1717"/>
              </a:buClr>
              <a:buSzTx/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Basic ideas</a:t>
            </a: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Sort the stocks by preprocessed EP value and divide them into 10 group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90204" pitchFamily="34" charset="0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For each group, we choose 30 stocks with the lowest EP value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(We build ten portfolios and compare there performance)</a:t>
            </a: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On the first trading date of each month, we re-sort the ep value and adjust the portfolios.</a:t>
            </a: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Time period 20140101-20231201</a:t>
            </a: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T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aken the CSI 500 as the baseline model.</a:t>
            </a: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Factor preprocessing is conducted using </a:t>
            </a:r>
            <a:r>
              <a:rPr kumimoji="0" lang="en-US" altLang="zh-CN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groupby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 by trading day to 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prevent time overlap.</a:t>
            </a:r>
          </a:p>
        </p:txBody>
      </p:sp>
      <p:sp>
        <p:nvSpPr>
          <p:cNvPr id="4" name="Text Placeholder 5"/>
          <p:cNvSpPr txBox="1"/>
          <p:nvPr/>
        </p:nvSpPr>
        <p:spPr>
          <a:xfrm>
            <a:off x="135310" y="3573810"/>
            <a:ext cx="9403035" cy="504056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Conditions setting: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1986" y="3575100"/>
            <a:ext cx="5911226" cy="294321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87710" y="421357"/>
            <a:ext cx="1723789" cy="373466"/>
          </a:xfrm>
        </p:spPr>
        <p:txBody>
          <a:bodyPr/>
          <a:lstStyle/>
          <a:p>
            <a:r>
              <a:rPr lang="en-US" sz="2585" dirty="0">
                <a:solidFill>
                  <a:schemeClr val="bg2"/>
                </a:solidFill>
                <a:latin typeface="Arial Bold" panose="020B0604020202090204" charset="0"/>
                <a:cs typeface="Arial Bold" panose="020B0604020202090204" charset="0"/>
              </a:rPr>
              <a:t>Content</a:t>
            </a:r>
          </a:p>
        </p:txBody>
      </p:sp>
      <p:sp>
        <p:nvSpPr>
          <p:cNvPr id="4" name="文本框 3"/>
          <p:cNvSpPr txBox="1"/>
          <p:nvPr/>
        </p:nvSpPr>
        <p:spPr>
          <a:xfrm flipH="1">
            <a:off x="9208200" y="6387711"/>
            <a:ext cx="98923" cy="17911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kumimoji="1" lang="zh-CN" altLang="en-US" sz="1295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5" name="矩形 44"/>
          <p:cNvSpPr/>
          <p:nvPr>
            <p:custDataLst>
              <p:tags r:id="rId1"/>
            </p:custDataLst>
          </p:nvPr>
        </p:nvSpPr>
        <p:spPr>
          <a:xfrm>
            <a:off x="1003010" y="1556708"/>
            <a:ext cx="645042" cy="5046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215" b="1" dirty="0">
                <a:solidFill>
                  <a:schemeClr val="tx1"/>
                </a:solidFill>
                <a:latin typeface="+mj-lt"/>
                <a:ea typeface="微软雅黑" charset="-122"/>
              </a:rPr>
              <a:t>01</a:t>
            </a:r>
          </a:p>
        </p:txBody>
      </p:sp>
      <p:sp>
        <p:nvSpPr>
          <p:cNvPr id="5" name="矩形 4"/>
          <p:cNvSpPr/>
          <p:nvPr>
            <p:custDataLst>
              <p:tags r:id="rId2"/>
            </p:custDataLst>
          </p:nvPr>
        </p:nvSpPr>
        <p:spPr>
          <a:xfrm>
            <a:off x="1795070" y="1575882"/>
            <a:ext cx="1838965" cy="43319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altLang="zh-CN" sz="2215" b="1" dirty="0">
                <a:latin typeface="Arial Bold" panose="020B0604020202090204" charset="0"/>
                <a:ea typeface="微软雅黑 Light" panose="020B0502040204020203" pitchFamily="34" charset="-122"/>
              </a:rPr>
              <a:t>Introduction</a:t>
            </a:r>
            <a:endParaRPr lang="zh-CN" altLang="en-US" sz="2215" b="1" dirty="0">
              <a:latin typeface="Arial Bold" panose="020B0604020202090204" charset="0"/>
              <a:ea typeface="微软雅黑 Light" panose="020B0502040204020203" pitchFamily="34" charset="-122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1074461" y="1484910"/>
            <a:ext cx="483087" cy="603788"/>
            <a:chOff x="2668588" y="1189513"/>
            <a:chExt cx="3238500" cy="4047650"/>
          </a:xfrm>
          <a:solidFill>
            <a:schemeClr val="bg2"/>
          </a:solidFill>
        </p:grpSpPr>
        <p:grpSp>
          <p:nvGrpSpPr>
            <p:cNvPr id="47" name="组合 46"/>
            <p:cNvGrpSpPr/>
            <p:nvPr/>
          </p:nvGrpSpPr>
          <p:grpSpPr>
            <a:xfrm>
              <a:off x="2668588" y="1189513"/>
              <a:ext cx="3238500" cy="1309688"/>
              <a:chOff x="4478338" y="1241901"/>
              <a:chExt cx="3238500" cy="1309688"/>
            </a:xfrm>
            <a:grpFill/>
          </p:grpSpPr>
          <p:sp>
            <p:nvSpPr>
              <p:cNvPr id="58" name="Freeform 5"/>
              <p:cNvSpPr/>
              <p:nvPr>
                <p:custDataLst>
                  <p:tags r:id="rId34"/>
                </p:custDataLst>
              </p:nvPr>
            </p:nvSpPr>
            <p:spPr bwMode="auto">
              <a:xfrm>
                <a:off x="4478338" y="1241901"/>
                <a:ext cx="3238500" cy="1309688"/>
              </a:xfrm>
              <a:custGeom>
                <a:avLst/>
                <a:gdLst>
                  <a:gd name="T0" fmla="*/ 13 w 2040"/>
                  <a:gd name="T1" fmla="*/ 825 h 825"/>
                  <a:gd name="T2" fmla="*/ 13 w 2040"/>
                  <a:gd name="T3" fmla="*/ 603 h 825"/>
                  <a:gd name="T4" fmla="*/ 1020 w 2040"/>
                  <a:gd name="T5" fmla="*/ 22 h 825"/>
                  <a:gd name="T6" fmla="*/ 2026 w 2040"/>
                  <a:gd name="T7" fmla="*/ 603 h 825"/>
                  <a:gd name="T8" fmla="*/ 2026 w 2040"/>
                  <a:gd name="T9" fmla="*/ 825 h 825"/>
                  <a:gd name="T10" fmla="*/ 2040 w 2040"/>
                  <a:gd name="T11" fmla="*/ 825 h 825"/>
                  <a:gd name="T12" fmla="*/ 2040 w 2040"/>
                  <a:gd name="T13" fmla="*/ 591 h 825"/>
                  <a:gd name="T14" fmla="*/ 1020 w 2040"/>
                  <a:gd name="T15" fmla="*/ 0 h 825"/>
                  <a:gd name="T16" fmla="*/ 0 w 2040"/>
                  <a:gd name="T17" fmla="*/ 591 h 825"/>
                  <a:gd name="T18" fmla="*/ 0 w 2040"/>
                  <a:gd name="T19" fmla="*/ 825 h 825"/>
                  <a:gd name="T20" fmla="*/ 13 w 2040"/>
                  <a:gd name="T21" fmla="*/ 825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5">
                    <a:moveTo>
                      <a:pt x="13" y="825"/>
                    </a:moveTo>
                    <a:lnTo>
                      <a:pt x="13" y="603"/>
                    </a:lnTo>
                    <a:lnTo>
                      <a:pt x="1020" y="22"/>
                    </a:lnTo>
                    <a:lnTo>
                      <a:pt x="2026" y="603"/>
                    </a:lnTo>
                    <a:lnTo>
                      <a:pt x="2026" y="825"/>
                    </a:lnTo>
                    <a:lnTo>
                      <a:pt x="2040" y="825"/>
                    </a:lnTo>
                    <a:lnTo>
                      <a:pt x="2040" y="591"/>
                    </a:lnTo>
                    <a:lnTo>
                      <a:pt x="1020" y="0"/>
                    </a:lnTo>
                    <a:lnTo>
                      <a:pt x="0" y="591"/>
                    </a:lnTo>
                    <a:lnTo>
                      <a:pt x="0" y="825"/>
                    </a:lnTo>
                    <a:lnTo>
                      <a:pt x="13" y="8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60" name="Freeform 9"/>
              <p:cNvSpPr/>
              <p:nvPr>
                <p:custDataLst>
                  <p:tags r:id="rId35"/>
                </p:custDataLst>
              </p:nvPr>
            </p:nvSpPr>
            <p:spPr bwMode="auto">
              <a:xfrm>
                <a:off x="4592638" y="1386364"/>
                <a:ext cx="3008313" cy="1165225"/>
              </a:xfrm>
              <a:custGeom>
                <a:avLst/>
                <a:gdLst>
                  <a:gd name="T0" fmla="*/ 66 w 1895"/>
                  <a:gd name="T1" fmla="*/ 734 h 734"/>
                  <a:gd name="T2" fmla="*/ 66 w 1895"/>
                  <a:gd name="T3" fmla="*/ 587 h 734"/>
                  <a:gd name="T4" fmla="*/ 944 w 1895"/>
                  <a:gd name="T5" fmla="*/ 81 h 734"/>
                  <a:gd name="T6" fmla="*/ 1822 w 1895"/>
                  <a:gd name="T7" fmla="*/ 587 h 734"/>
                  <a:gd name="T8" fmla="*/ 1822 w 1895"/>
                  <a:gd name="T9" fmla="*/ 734 h 734"/>
                  <a:gd name="T10" fmla="*/ 1895 w 1895"/>
                  <a:gd name="T11" fmla="*/ 734 h 734"/>
                  <a:gd name="T12" fmla="*/ 1895 w 1895"/>
                  <a:gd name="T13" fmla="*/ 546 h 734"/>
                  <a:gd name="T14" fmla="*/ 948 w 1895"/>
                  <a:gd name="T15" fmla="*/ 0 h 734"/>
                  <a:gd name="T16" fmla="*/ 0 w 1895"/>
                  <a:gd name="T17" fmla="*/ 546 h 734"/>
                  <a:gd name="T18" fmla="*/ 0 w 1895"/>
                  <a:gd name="T19" fmla="*/ 734 h 734"/>
                  <a:gd name="T20" fmla="*/ 66 w 1895"/>
                  <a:gd name="T21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4">
                    <a:moveTo>
                      <a:pt x="66" y="734"/>
                    </a:moveTo>
                    <a:lnTo>
                      <a:pt x="66" y="587"/>
                    </a:lnTo>
                    <a:lnTo>
                      <a:pt x="944" y="81"/>
                    </a:lnTo>
                    <a:lnTo>
                      <a:pt x="1822" y="587"/>
                    </a:lnTo>
                    <a:lnTo>
                      <a:pt x="1822" y="734"/>
                    </a:lnTo>
                    <a:lnTo>
                      <a:pt x="1895" y="734"/>
                    </a:lnTo>
                    <a:lnTo>
                      <a:pt x="1895" y="546"/>
                    </a:lnTo>
                    <a:lnTo>
                      <a:pt x="948" y="0"/>
                    </a:lnTo>
                    <a:lnTo>
                      <a:pt x="0" y="546"/>
                    </a:lnTo>
                    <a:lnTo>
                      <a:pt x="0" y="734"/>
                    </a:lnTo>
                    <a:lnTo>
                      <a:pt x="66" y="7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52" name="组合 51"/>
            <p:cNvGrpSpPr/>
            <p:nvPr/>
          </p:nvGrpSpPr>
          <p:grpSpPr>
            <a:xfrm>
              <a:off x="2668588" y="3924300"/>
              <a:ext cx="3238500" cy="1312863"/>
              <a:chOff x="4478338" y="3976688"/>
              <a:chExt cx="3238500" cy="1312863"/>
            </a:xfrm>
            <a:grpFill/>
          </p:grpSpPr>
          <p:sp>
            <p:nvSpPr>
              <p:cNvPr id="54" name="Freeform 6"/>
              <p:cNvSpPr/>
              <p:nvPr>
                <p:custDataLst>
                  <p:tags r:id="rId31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  <a:gd name="T20" fmla="*/ 1020 w 2040"/>
                  <a:gd name="T21" fmla="*/ 807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  <a:lnTo>
                      <a:pt x="1020" y="8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55" name="Freeform 7"/>
              <p:cNvSpPr/>
              <p:nvPr>
                <p:custDataLst>
                  <p:tags r:id="rId32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57" name="Freeform 8"/>
              <p:cNvSpPr/>
              <p:nvPr>
                <p:custDataLst>
                  <p:tags r:id="rId33"/>
                </p:custDataLst>
              </p:nvPr>
            </p:nvSpPr>
            <p:spPr bwMode="auto">
              <a:xfrm>
                <a:off x="4592638" y="3976688"/>
                <a:ext cx="3008313" cy="1171575"/>
              </a:xfrm>
              <a:custGeom>
                <a:avLst/>
                <a:gdLst>
                  <a:gd name="T0" fmla="*/ 1822 w 1895"/>
                  <a:gd name="T1" fmla="*/ 0 h 738"/>
                  <a:gd name="T2" fmla="*/ 1822 w 1895"/>
                  <a:gd name="T3" fmla="*/ 150 h 738"/>
                  <a:gd name="T4" fmla="*/ 944 w 1895"/>
                  <a:gd name="T5" fmla="*/ 655 h 738"/>
                  <a:gd name="T6" fmla="*/ 66 w 1895"/>
                  <a:gd name="T7" fmla="*/ 150 h 738"/>
                  <a:gd name="T8" fmla="*/ 66 w 1895"/>
                  <a:gd name="T9" fmla="*/ 0 h 738"/>
                  <a:gd name="T10" fmla="*/ 0 w 1895"/>
                  <a:gd name="T11" fmla="*/ 0 h 738"/>
                  <a:gd name="T12" fmla="*/ 0 w 1895"/>
                  <a:gd name="T13" fmla="*/ 192 h 738"/>
                  <a:gd name="T14" fmla="*/ 948 w 1895"/>
                  <a:gd name="T15" fmla="*/ 738 h 738"/>
                  <a:gd name="T16" fmla="*/ 1895 w 1895"/>
                  <a:gd name="T17" fmla="*/ 192 h 738"/>
                  <a:gd name="T18" fmla="*/ 1895 w 1895"/>
                  <a:gd name="T19" fmla="*/ 0 h 738"/>
                  <a:gd name="T20" fmla="*/ 1822 w 1895"/>
                  <a:gd name="T21" fmla="*/ 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8">
                    <a:moveTo>
                      <a:pt x="1822" y="0"/>
                    </a:moveTo>
                    <a:lnTo>
                      <a:pt x="1822" y="150"/>
                    </a:lnTo>
                    <a:lnTo>
                      <a:pt x="944" y="655"/>
                    </a:lnTo>
                    <a:lnTo>
                      <a:pt x="66" y="150"/>
                    </a:lnTo>
                    <a:lnTo>
                      <a:pt x="66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948" y="738"/>
                    </a:lnTo>
                    <a:lnTo>
                      <a:pt x="1895" y="192"/>
                    </a:lnTo>
                    <a:lnTo>
                      <a:pt x="1895" y="0"/>
                    </a:lnTo>
                    <a:lnTo>
                      <a:pt x="182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</p:grpSp>
      <p:grpSp>
        <p:nvGrpSpPr>
          <p:cNvPr id="7" name="组合 6"/>
          <p:cNvGrpSpPr/>
          <p:nvPr/>
        </p:nvGrpSpPr>
        <p:grpSpPr>
          <a:xfrm>
            <a:off x="1089069" y="2349345"/>
            <a:ext cx="483087" cy="603788"/>
            <a:chOff x="2668588" y="1189513"/>
            <a:chExt cx="3238500" cy="4047650"/>
          </a:xfrm>
          <a:solidFill>
            <a:schemeClr val="bg2"/>
          </a:solidFill>
        </p:grpSpPr>
        <p:grpSp>
          <p:nvGrpSpPr>
            <p:cNvPr id="8" name="组合 7"/>
            <p:cNvGrpSpPr/>
            <p:nvPr/>
          </p:nvGrpSpPr>
          <p:grpSpPr>
            <a:xfrm>
              <a:off x="2668588" y="1189513"/>
              <a:ext cx="3238500" cy="1309688"/>
              <a:chOff x="4478338" y="1241901"/>
              <a:chExt cx="3238500" cy="1309688"/>
            </a:xfrm>
            <a:grpFill/>
          </p:grpSpPr>
          <p:sp>
            <p:nvSpPr>
              <p:cNvPr id="9" name="Freeform 5"/>
              <p:cNvSpPr/>
              <p:nvPr>
                <p:custDataLst>
                  <p:tags r:id="rId29"/>
                </p:custDataLst>
              </p:nvPr>
            </p:nvSpPr>
            <p:spPr bwMode="auto">
              <a:xfrm>
                <a:off x="4478338" y="1241901"/>
                <a:ext cx="3238500" cy="1309688"/>
              </a:xfrm>
              <a:custGeom>
                <a:avLst/>
                <a:gdLst>
                  <a:gd name="T0" fmla="*/ 13 w 2040"/>
                  <a:gd name="T1" fmla="*/ 825 h 825"/>
                  <a:gd name="T2" fmla="*/ 13 w 2040"/>
                  <a:gd name="T3" fmla="*/ 603 h 825"/>
                  <a:gd name="T4" fmla="*/ 1020 w 2040"/>
                  <a:gd name="T5" fmla="*/ 22 h 825"/>
                  <a:gd name="T6" fmla="*/ 2026 w 2040"/>
                  <a:gd name="T7" fmla="*/ 603 h 825"/>
                  <a:gd name="T8" fmla="*/ 2026 w 2040"/>
                  <a:gd name="T9" fmla="*/ 825 h 825"/>
                  <a:gd name="T10" fmla="*/ 2040 w 2040"/>
                  <a:gd name="T11" fmla="*/ 825 h 825"/>
                  <a:gd name="T12" fmla="*/ 2040 w 2040"/>
                  <a:gd name="T13" fmla="*/ 591 h 825"/>
                  <a:gd name="T14" fmla="*/ 1020 w 2040"/>
                  <a:gd name="T15" fmla="*/ 0 h 825"/>
                  <a:gd name="T16" fmla="*/ 0 w 2040"/>
                  <a:gd name="T17" fmla="*/ 591 h 825"/>
                  <a:gd name="T18" fmla="*/ 0 w 2040"/>
                  <a:gd name="T19" fmla="*/ 825 h 825"/>
                  <a:gd name="T20" fmla="*/ 13 w 2040"/>
                  <a:gd name="T21" fmla="*/ 825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5">
                    <a:moveTo>
                      <a:pt x="13" y="825"/>
                    </a:moveTo>
                    <a:lnTo>
                      <a:pt x="13" y="603"/>
                    </a:lnTo>
                    <a:lnTo>
                      <a:pt x="1020" y="22"/>
                    </a:lnTo>
                    <a:lnTo>
                      <a:pt x="2026" y="603"/>
                    </a:lnTo>
                    <a:lnTo>
                      <a:pt x="2026" y="825"/>
                    </a:lnTo>
                    <a:lnTo>
                      <a:pt x="2040" y="825"/>
                    </a:lnTo>
                    <a:lnTo>
                      <a:pt x="2040" y="591"/>
                    </a:lnTo>
                    <a:lnTo>
                      <a:pt x="1020" y="0"/>
                    </a:lnTo>
                    <a:lnTo>
                      <a:pt x="0" y="591"/>
                    </a:lnTo>
                    <a:lnTo>
                      <a:pt x="0" y="825"/>
                    </a:lnTo>
                    <a:lnTo>
                      <a:pt x="13" y="8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0" name="Freeform 9"/>
              <p:cNvSpPr/>
              <p:nvPr>
                <p:custDataLst>
                  <p:tags r:id="rId30"/>
                </p:custDataLst>
              </p:nvPr>
            </p:nvSpPr>
            <p:spPr bwMode="auto">
              <a:xfrm>
                <a:off x="4592638" y="1386364"/>
                <a:ext cx="3008313" cy="1165225"/>
              </a:xfrm>
              <a:custGeom>
                <a:avLst/>
                <a:gdLst>
                  <a:gd name="T0" fmla="*/ 66 w 1895"/>
                  <a:gd name="T1" fmla="*/ 734 h 734"/>
                  <a:gd name="T2" fmla="*/ 66 w 1895"/>
                  <a:gd name="T3" fmla="*/ 587 h 734"/>
                  <a:gd name="T4" fmla="*/ 944 w 1895"/>
                  <a:gd name="T5" fmla="*/ 81 h 734"/>
                  <a:gd name="T6" fmla="*/ 1822 w 1895"/>
                  <a:gd name="T7" fmla="*/ 587 h 734"/>
                  <a:gd name="T8" fmla="*/ 1822 w 1895"/>
                  <a:gd name="T9" fmla="*/ 734 h 734"/>
                  <a:gd name="T10" fmla="*/ 1895 w 1895"/>
                  <a:gd name="T11" fmla="*/ 734 h 734"/>
                  <a:gd name="T12" fmla="*/ 1895 w 1895"/>
                  <a:gd name="T13" fmla="*/ 546 h 734"/>
                  <a:gd name="T14" fmla="*/ 948 w 1895"/>
                  <a:gd name="T15" fmla="*/ 0 h 734"/>
                  <a:gd name="T16" fmla="*/ 0 w 1895"/>
                  <a:gd name="T17" fmla="*/ 546 h 734"/>
                  <a:gd name="T18" fmla="*/ 0 w 1895"/>
                  <a:gd name="T19" fmla="*/ 734 h 734"/>
                  <a:gd name="T20" fmla="*/ 66 w 1895"/>
                  <a:gd name="T21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4">
                    <a:moveTo>
                      <a:pt x="66" y="734"/>
                    </a:moveTo>
                    <a:lnTo>
                      <a:pt x="66" y="587"/>
                    </a:lnTo>
                    <a:lnTo>
                      <a:pt x="944" y="81"/>
                    </a:lnTo>
                    <a:lnTo>
                      <a:pt x="1822" y="587"/>
                    </a:lnTo>
                    <a:lnTo>
                      <a:pt x="1822" y="734"/>
                    </a:lnTo>
                    <a:lnTo>
                      <a:pt x="1895" y="734"/>
                    </a:lnTo>
                    <a:lnTo>
                      <a:pt x="1895" y="546"/>
                    </a:lnTo>
                    <a:lnTo>
                      <a:pt x="948" y="0"/>
                    </a:lnTo>
                    <a:lnTo>
                      <a:pt x="0" y="546"/>
                    </a:lnTo>
                    <a:lnTo>
                      <a:pt x="0" y="734"/>
                    </a:lnTo>
                    <a:lnTo>
                      <a:pt x="66" y="7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2668588" y="3924300"/>
              <a:ext cx="3238500" cy="1312863"/>
              <a:chOff x="4478338" y="3976688"/>
              <a:chExt cx="3238500" cy="1312863"/>
            </a:xfrm>
            <a:grpFill/>
          </p:grpSpPr>
          <p:sp>
            <p:nvSpPr>
              <p:cNvPr id="12" name="Freeform 6"/>
              <p:cNvSpPr/>
              <p:nvPr>
                <p:custDataLst>
                  <p:tags r:id="rId26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  <a:gd name="T20" fmla="*/ 1020 w 2040"/>
                  <a:gd name="T21" fmla="*/ 807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  <a:lnTo>
                      <a:pt x="1020" y="8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3" name="Freeform 7"/>
              <p:cNvSpPr/>
              <p:nvPr>
                <p:custDataLst>
                  <p:tags r:id="rId27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4" name="Freeform 8"/>
              <p:cNvSpPr/>
              <p:nvPr>
                <p:custDataLst>
                  <p:tags r:id="rId28"/>
                </p:custDataLst>
              </p:nvPr>
            </p:nvSpPr>
            <p:spPr bwMode="auto">
              <a:xfrm>
                <a:off x="4592638" y="3976688"/>
                <a:ext cx="3008313" cy="1171575"/>
              </a:xfrm>
              <a:custGeom>
                <a:avLst/>
                <a:gdLst>
                  <a:gd name="T0" fmla="*/ 1822 w 1895"/>
                  <a:gd name="T1" fmla="*/ 0 h 738"/>
                  <a:gd name="T2" fmla="*/ 1822 w 1895"/>
                  <a:gd name="T3" fmla="*/ 150 h 738"/>
                  <a:gd name="T4" fmla="*/ 944 w 1895"/>
                  <a:gd name="T5" fmla="*/ 655 h 738"/>
                  <a:gd name="T6" fmla="*/ 66 w 1895"/>
                  <a:gd name="T7" fmla="*/ 150 h 738"/>
                  <a:gd name="T8" fmla="*/ 66 w 1895"/>
                  <a:gd name="T9" fmla="*/ 0 h 738"/>
                  <a:gd name="T10" fmla="*/ 0 w 1895"/>
                  <a:gd name="T11" fmla="*/ 0 h 738"/>
                  <a:gd name="T12" fmla="*/ 0 w 1895"/>
                  <a:gd name="T13" fmla="*/ 192 h 738"/>
                  <a:gd name="T14" fmla="*/ 948 w 1895"/>
                  <a:gd name="T15" fmla="*/ 738 h 738"/>
                  <a:gd name="T16" fmla="*/ 1895 w 1895"/>
                  <a:gd name="T17" fmla="*/ 192 h 738"/>
                  <a:gd name="T18" fmla="*/ 1895 w 1895"/>
                  <a:gd name="T19" fmla="*/ 0 h 738"/>
                  <a:gd name="T20" fmla="*/ 1822 w 1895"/>
                  <a:gd name="T21" fmla="*/ 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8">
                    <a:moveTo>
                      <a:pt x="1822" y="0"/>
                    </a:moveTo>
                    <a:lnTo>
                      <a:pt x="1822" y="150"/>
                    </a:lnTo>
                    <a:lnTo>
                      <a:pt x="944" y="655"/>
                    </a:lnTo>
                    <a:lnTo>
                      <a:pt x="66" y="150"/>
                    </a:lnTo>
                    <a:lnTo>
                      <a:pt x="66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948" y="738"/>
                    </a:lnTo>
                    <a:lnTo>
                      <a:pt x="1895" y="192"/>
                    </a:lnTo>
                    <a:lnTo>
                      <a:pt x="1895" y="0"/>
                    </a:lnTo>
                    <a:lnTo>
                      <a:pt x="182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</p:grpSp>
      <p:sp>
        <p:nvSpPr>
          <p:cNvPr id="15" name="矩形 14"/>
          <p:cNvSpPr/>
          <p:nvPr>
            <p:custDataLst>
              <p:tags r:id="rId3"/>
            </p:custDataLst>
          </p:nvPr>
        </p:nvSpPr>
        <p:spPr>
          <a:xfrm>
            <a:off x="1003645" y="2384940"/>
            <a:ext cx="645042" cy="5046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215" b="1" dirty="0">
                <a:solidFill>
                  <a:schemeClr val="tx1"/>
                </a:solidFill>
                <a:latin typeface="+mj-lt"/>
                <a:ea typeface="微软雅黑" charset="-122"/>
              </a:rPr>
              <a:t>02</a:t>
            </a:r>
          </a:p>
        </p:txBody>
      </p:sp>
      <p:sp>
        <p:nvSpPr>
          <p:cNvPr id="16" name="矩形 15"/>
          <p:cNvSpPr/>
          <p:nvPr>
            <p:custDataLst>
              <p:tags r:id="rId4"/>
            </p:custDataLst>
          </p:nvPr>
        </p:nvSpPr>
        <p:spPr>
          <a:xfrm>
            <a:off x="1201132" y="2457803"/>
            <a:ext cx="281497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/>
              <a:t>Data Import</a:t>
            </a:r>
            <a:endParaRPr lang="zh-CN" altLang="en-US" sz="2000" b="1" dirty="0"/>
          </a:p>
        </p:txBody>
      </p:sp>
      <p:grpSp>
        <p:nvGrpSpPr>
          <p:cNvPr id="27" name="组合 26"/>
          <p:cNvGrpSpPr/>
          <p:nvPr/>
        </p:nvGrpSpPr>
        <p:grpSpPr>
          <a:xfrm>
            <a:off x="1113205" y="3187739"/>
            <a:ext cx="483087" cy="603788"/>
            <a:chOff x="2668588" y="1189513"/>
            <a:chExt cx="3238500" cy="4047650"/>
          </a:xfrm>
          <a:solidFill>
            <a:schemeClr val="bg2"/>
          </a:solidFill>
        </p:grpSpPr>
        <p:grpSp>
          <p:nvGrpSpPr>
            <p:cNvPr id="28" name="组合 27"/>
            <p:cNvGrpSpPr/>
            <p:nvPr/>
          </p:nvGrpSpPr>
          <p:grpSpPr>
            <a:xfrm>
              <a:off x="2668588" y="1189513"/>
              <a:ext cx="3238500" cy="1309688"/>
              <a:chOff x="4478338" y="1241901"/>
              <a:chExt cx="3238500" cy="1309688"/>
            </a:xfrm>
            <a:grpFill/>
          </p:grpSpPr>
          <p:sp>
            <p:nvSpPr>
              <p:cNvPr id="29" name="Freeform 5"/>
              <p:cNvSpPr/>
              <p:nvPr>
                <p:custDataLst>
                  <p:tags r:id="rId24"/>
                </p:custDataLst>
              </p:nvPr>
            </p:nvSpPr>
            <p:spPr bwMode="auto">
              <a:xfrm>
                <a:off x="4478338" y="1241901"/>
                <a:ext cx="3238500" cy="1309688"/>
              </a:xfrm>
              <a:custGeom>
                <a:avLst/>
                <a:gdLst>
                  <a:gd name="T0" fmla="*/ 13 w 2040"/>
                  <a:gd name="T1" fmla="*/ 825 h 825"/>
                  <a:gd name="T2" fmla="*/ 13 w 2040"/>
                  <a:gd name="T3" fmla="*/ 603 h 825"/>
                  <a:gd name="T4" fmla="*/ 1020 w 2040"/>
                  <a:gd name="T5" fmla="*/ 22 h 825"/>
                  <a:gd name="T6" fmla="*/ 2026 w 2040"/>
                  <a:gd name="T7" fmla="*/ 603 h 825"/>
                  <a:gd name="T8" fmla="*/ 2026 w 2040"/>
                  <a:gd name="T9" fmla="*/ 825 h 825"/>
                  <a:gd name="T10" fmla="*/ 2040 w 2040"/>
                  <a:gd name="T11" fmla="*/ 825 h 825"/>
                  <a:gd name="T12" fmla="*/ 2040 w 2040"/>
                  <a:gd name="T13" fmla="*/ 591 h 825"/>
                  <a:gd name="T14" fmla="*/ 1020 w 2040"/>
                  <a:gd name="T15" fmla="*/ 0 h 825"/>
                  <a:gd name="T16" fmla="*/ 0 w 2040"/>
                  <a:gd name="T17" fmla="*/ 591 h 825"/>
                  <a:gd name="T18" fmla="*/ 0 w 2040"/>
                  <a:gd name="T19" fmla="*/ 825 h 825"/>
                  <a:gd name="T20" fmla="*/ 13 w 2040"/>
                  <a:gd name="T21" fmla="*/ 825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5">
                    <a:moveTo>
                      <a:pt x="13" y="825"/>
                    </a:moveTo>
                    <a:lnTo>
                      <a:pt x="13" y="603"/>
                    </a:lnTo>
                    <a:lnTo>
                      <a:pt x="1020" y="22"/>
                    </a:lnTo>
                    <a:lnTo>
                      <a:pt x="2026" y="603"/>
                    </a:lnTo>
                    <a:lnTo>
                      <a:pt x="2026" y="825"/>
                    </a:lnTo>
                    <a:lnTo>
                      <a:pt x="2040" y="825"/>
                    </a:lnTo>
                    <a:lnTo>
                      <a:pt x="2040" y="591"/>
                    </a:lnTo>
                    <a:lnTo>
                      <a:pt x="1020" y="0"/>
                    </a:lnTo>
                    <a:lnTo>
                      <a:pt x="0" y="591"/>
                    </a:lnTo>
                    <a:lnTo>
                      <a:pt x="0" y="825"/>
                    </a:lnTo>
                    <a:lnTo>
                      <a:pt x="13" y="8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30" name="Freeform 9"/>
              <p:cNvSpPr/>
              <p:nvPr>
                <p:custDataLst>
                  <p:tags r:id="rId25"/>
                </p:custDataLst>
              </p:nvPr>
            </p:nvSpPr>
            <p:spPr bwMode="auto">
              <a:xfrm>
                <a:off x="4592638" y="1386364"/>
                <a:ext cx="3008313" cy="1165225"/>
              </a:xfrm>
              <a:custGeom>
                <a:avLst/>
                <a:gdLst>
                  <a:gd name="T0" fmla="*/ 66 w 1895"/>
                  <a:gd name="T1" fmla="*/ 734 h 734"/>
                  <a:gd name="T2" fmla="*/ 66 w 1895"/>
                  <a:gd name="T3" fmla="*/ 587 h 734"/>
                  <a:gd name="T4" fmla="*/ 944 w 1895"/>
                  <a:gd name="T5" fmla="*/ 81 h 734"/>
                  <a:gd name="T6" fmla="*/ 1822 w 1895"/>
                  <a:gd name="T7" fmla="*/ 587 h 734"/>
                  <a:gd name="T8" fmla="*/ 1822 w 1895"/>
                  <a:gd name="T9" fmla="*/ 734 h 734"/>
                  <a:gd name="T10" fmla="*/ 1895 w 1895"/>
                  <a:gd name="T11" fmla="*/ 734 h 734"/>
                  <a:gd name="T12" fmla="*/ 1895 w 1895"/>
                  <a:gd name="T13" fmla="*/ 546 h 734"/>
                  <a:gd name="T14" fmla="*/ 948 w 1895"/>
                  <a:gd name="T15" fmla="*/ 0 h 734"/>
                  <a:gd name="T16" fmla="*/ 0 w 1895"/>
                  <a:gd name="T17" fmla="*/ 546 h 734"/>
                  <a:gd name="T18" fmla="*/ 0 w 1895"/>
                  <a:gd name="T19" fmla="*/ 734 h 734"/>
                  <a:gd name="T20" fmla="*/ 66 w 1895"/>
                  <a:gd name="T21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4">
                    <a:moveTo>
                      <a:pt x="66" y="734"/>
                    </a:moveTo>
                    <a:lnTo>
                      <a:pt x="66" y="587"/>
                    </a:lnTo>
                    <a:lnTo>
                      <a:pt x="944" y="81"/>
                    </a:lnTo>
                    <a:lnTo>
                      <a:pt x="1822" y="587"/>
                    </a:lnTo>
                    <a:lnTo>
                      <a:pt x="1822" y="734"/>
                    </a:lnTo>
                    <a:lnTo>
                      <a:pt x="1895" y="734"/>
                    </a:lnTo>
                    <a:lnTo>
                      <a:pt x="1895" y="546"/>
                    </a:lnTo>
                    <a:lnTo>
                      <a:pt x="948" y="0"/>
                    </a:lnTo>
                    <a:lnTo>
                      <a:pt x="0" y="546"/>
                    </a:lnTo>
                    <a:lnTo>
                      <a:pt x="0" y="734"/>
                    </a:lnTo>
                    <a:lnTo>
                      <a:pt x="66" y="7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31" name="组合 30"/>
            <p:cNvGrpSpPr/>
            <p:nvPr/>
          </p:nvGrpSpPr>
          <p:grpSpPr>
            <a:xfrm>
              <a:off x="2668588" y="3924300"/>
              <a:ext cx="3238500" cy="1312863"/>
              <a:chOff x="4478338" y="3976688"/>
              <a:chExt cx="3238500" cy="1312863"/>
            </a:xfrm>
            <a:grpFill/>
          </p:grpSpPr>
          <p:sp>
            <p:nvSpPr>
              <p:cNvPr id="32" name="Freeform 6"/>
              <p:cNvSpPr/>
              <p:nvPr>
                <p:custDataLst>
                  <p:tags r:id="rId21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  <a:gd name="T20" fmla="*/ 1020 w 2040"/>
                  <a:gd name="T21" fmla="*/ 807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  <a:lnTo>
                      <a:pt x="1020" y="8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33" name="Freeform 7"/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34" name="Freeform 8"/>
              <p:cNvSpPr/>
              <p:nvPr>
                <p:custDataLst>
                  <p:tags r:id="rId23"/>
                </p:custDataLst>
              </p:nvPr>
            </p:nvSpPr>
            <p:spPr bwMode="auto">
              <a:xfrm>
                <a:off x="4592638" y="3976688"/>
                <a:ext cx="3008313" cy="1171575"/>
              </a:xfrm>
              <a:custGeom>
                <a:avLst/>
                <a:gdLst>
                  <a:gd name="T0" fmla="*/ 1822 w 1895"/>
                  <a:gd name="T1" fmla="*/ 0 h 738"/>
                  <a:gd name="T2" fmla="*/ 1822 w 1895"/>
                  <a:gd name="T3" fmla="*/ 150 h 738"/>
                  <a:gd name="T4" fmla="*/ 944 w 1895"/>
                  <a:gd name="T5" fmla="*/ 655 h 738"/>
                  <a:gd name="T6" fmla="*/ 66 w 1895"/>
                  <a:gd name="T7" fmla="*/ 150 h 738"/>
                  <a:gd name="T8" fmla="*/ 66 w 1895"/>
                  <a:gd name="T9" fmla="*/ 0 h 738"/>
                  <a:gd name="T10" fmla="*/ 0 w 1895"/>
                  <a:gd name="T11" fmla="*/ 0 h 738"/>
                  <a:gd name="T12" fmla="*/ 0 w 1895"/>
                  <a:gd name="T13" fmla="*/ 192 h 738"/>
                  <a:gd name="T14" fmla="*/ 948 w 1895"/>
                  <a:gd name="T15" fmla="*/ 738 h 738"/>
                  <a:gd name="T16" fmla="*/ 1895 w 1895"/>
                  <a:gd name="T17" fmla="*/ 192 h 738"/>
                  <a:gd name="T18" fmla="*/ 1895 w 1895"/>
                  <a:gd name="T19" fmla="*/ 0 h 738"/>
                  <a:gd name="T20" fmla="*/ 1822 w 1895"/>
                  <a:gd name="T21" fmla="*/ 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8">
                    <a:moveTo>
                      <a:pt x="1822" y="0"/>
                    </a:moveTo>
                    <a:lnTo>
                      <a:pt x="1822" y="150"/>
                    </a:lnTo>
                    <a:lnTo>
                      <a:pt x="944" y="655"/>
                    </a:lnTo>
                    <a:lnTo>
                      <a:pt x="66" y="150"/>
                    </a:lnTo>
                    <a:lnTo>
                      <a:pt x="66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948" y="738"/>
                    </a:lnTo>
                    <a:lnTo>
                      <a:pt x="1895" y="192"/>
                    </a:lnTo>
                    <a:lnTo>
                      <a:pt x="1895" y="0"/>
                    </a:lnTo>
                    <a:lnTo>
                      <a:pt x="182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</p:grpSp>
      <p:sp>
        <p:nvSpPr>
          <p:cNvPr id="35" name="矩形 34"/>
          <p:cNvSpPr/>
          <p:nvPr>
            <p:custDataLst>
              <p:tags r:id="rId5"/>
            </p:custDataLst>
          </p:nvPr>
        </p:nvSpPr>
        <p:spPr>
          <a:xfrm>
            <a:off x="1027781" y="3223334"/>
            <a:ext cx="645042" cy="5046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215" b="1" dirty="0">
                <a:solidFill>
                  <a:schemeClr val="tx1"/>
                </a:solidFill>
                <a:latin typeface="+mj-lt"/>
                <a:ea typeface="微软雅黑" charset="-122"/>
              </a:rPr>
              <a:t>03</a:t>
            </a:r>
          </a:p>
        </p:txBody>
      </p:sp>
      <p:sp>
        <p:nvSpPr>
          <p:cNvPr id="36" name="矩形 35"/>
          <p:cNvSpPr/>
          <p:nvPr>
            <p:custDataLst>
              <p:tags r:id="rId6"/>
            </p:custDataLst>
          </p:nvPr>
        </p:nvSpPr>
        <p:spPr>
          <a:xfrm>
            <a:off x="1783854" y="3306638"/>
            <a:ext cx="220925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altLang="zh-CN" sz="2000" b="1" dirty="0"/>
              <a:t>Data Preprocess</a:t>
            </a:r>
            <a:endParaRPr lang="zh-CN" altLang="en-US" sz="2000" b="1" dirty="0"/>
          </a:p>
        </p:txBody>
      </p:sp>
      <p:grpSp>
        <p:nvGrpSpPr>
          <p:cNvPr id="37" name="组合 36"/>
          <p:cNvGrpSpPr/>
          <p:nvPr/>
        </p:nvGrpSpPr>
        <p:grpSpPr>
          <a:xfrm>
            <a:off x="1113205" y="4161419"/>
            <a:ext cx="483087" cy="603788"/>
            <a:chOff x="2668588" y="1189513"/>
            <a:chExt cx="3238500" cy="4047650"/>
          </a:xfrm>
          <a:solidFill>
            <a:schemeClr val="bg2"/>
          </a:solidFill>
        </p:grpSpPr>
        <p:grpSp>
          <p:nvGrpSpPr>
            <p:cNvPr id="38" name="组合 37"/>
            <p:cNvGrpSpPr/>
            <p:nvPr/>
          </p:nvGrpSpPr>
          <p:grpSpPr>
            <a:xfrm>
              <a:off x="2668588" y="1189513"/>
              <a:ext cx="3238500" cy="1309688"/>
              <a:chOff x="4478338" y="1241901"/>
              <a:chExt cx="3238500" cy="1309688"/>
            </a:xfrm>
            <a:grpFill/>
          </p:grpSpPr>
          <p:sp>
            <p:nvSpPr>
              <p:cNvPr id="39" name="Freeform 5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4478338" y="1241901"/>
                <a:ext cx="3238500" cy="1309688"/>
              </a:xfrm>
              <a:custGeom>
                <a:avLst/>
                <a:gdLst>
                  <a:gd name="T0" fmla="*/ 13 w 2040"/>
                  <a:gd name="T1" fmla="*/ 825 h 825"/>
                  <a:gd name="T2" fmla="*/ 13 w 2040"/>
                  <a:gd name="T3" fmla="*/ 603 h 825"/>
                  <a:gd name="T4" fmla="*/ 1020 w 2040"/>
                  <a:gd name="T5" fmla="*/ 22 h 825"/>
                  <a:gd name="T6" fmla="*/ 2026 w 2040"/>
                  <a:gd name="T7" fmla="*/ 603 h 825"/>
                  <a:gd name="T8" fmla="*/ 2026 w 2040"/>
                  <a:gd name="T9" fmla="*/ 825 h 825"/>
                  <a:gd name="T10" fmla="*/ 2040 w 2040"/>
                  <a:gd name="T11" fmla="*/ 825 h 825"/>
                  <a:gd name="T12" fmla="*/ 2040 w 2040"/>
                  <a:gd name="T13" fmla="*/ 591 h 825"/>
                  <a:gd name="T14" fmla="*/ 1020 w 2040"/>
                  <a:gd name="T15" fmla="*/ 0 h 825"/>
                  <a:gd name="T16" fmla="*/ 0 w 2040"/>
                  <a:gd name="T17" fmla="*/ 591 h 825"/>
                  <a:gd name="T18" fmla="*/ 0 w 2040"/>
                  <a:gd name="T19" fmla="*/ 825 h 825"/>
                  <a:gd name="T20" fmla="*/ 13 w 2040"/>
                  <a:gd name="T21" fmla="*/ 825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5">
                    <a:moveTo>
                      <a:pt x="13" y="825"/>
                    </a:moveTo>
                    <a:lnTo>
                      <a:pt x="13" y="603"/>
                    </a:lnTo>
                    <a:lnTo>
                      <a:pt x="1020" y="22"/>
                    </a:lnTo>
                    <a:lnTo>
                      <a:pt x="2026" y="603"/>
                    </a:lnTo>
                    <a:lnTo>
                      <a:pt x="2026" y="825"/>
                    </a:lnTo>
                    <a:lnTo>
                      <a:pt x="2040" y="825"/>
                    </a:lnTo>
                    <a:lnTo>
                      <a:pt x="2040" y="591"/>
                    </a:lnTo>
                    <a:lnTo>
                      <a:pt x="1020" y="0"/>
                    </a:lnTo>
                    <a:lnTo>
                      <a:pt x="0" y="591"/>
                    </a:lnTo>
                    <a:lnTo>
                      <a:pt x="0" y="825"/>
                    </a:lnTo>
                    <a:lnTo>
                      <a:pt x="13" y="8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40" name="Freeform 9"/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4592638" y="1386364"/>
                <a:ext cx="3008313" cy="1165225"/>
              </a:xfrm>
              <a:custGeom>
                <a:avLst/>
                <a:gdLst>
                  <a:gd name="T0" fmla="*/ 66 w 1895"/>
                  <a:gd name="T1" fmla="*/ 734 h 734"/>
                  <a:gd name="T2" fmla="*/ 66 w 1895"/>
                  <a:gd name="T3" fmla="*/ 587 h 734"/>
                  <a:gd name="T4" fmla="*/ 944 w 1895"/>
                  <a:gd name="T5" fmla="*/ 81 h 734"/>
                  <a:gd name="T6" fmla="*/ 1822 w 1895"/>
                  <a:gd name="T7" fmla="*/ 587 h 734"/>
                  <a:gd name="T8" fmla="*/ 1822 w 1895"/>
                  <a:gd name="T9" fmla="*/ 734 h 734"/>
                  <a:gd name="T10" fmla="*/ 1895 w 1895"/>
                  <a:gd name="T11" fmla="*/ 734 h 734"/>
                  <a:gd name="T12" fmla="*/ 1895 w 1895"/>
                  <a:gd name="T13" fmla="*/ 546 h 734"/>
                  <a:gd name="T14" fmla="*/ 948 w 1895"/>
                  <a:gd name="T15" fmla="*/ 0 h 734"/>
                  <a:gd name="T16" fmla="*/ 0 w 1895"/>
                  <a:gd name="T17" fmla="*/ 546 h 734"/>
                  <a:gd name="T18" fmla="*/ 0 w 1895"/>
                  <a:gd name="T19" fmla="*/ 734 h 734"/>
                  <a:gd name="T20" fmla="*/ 66 w 1895"/>
                  <a:gd name="T21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4">
                    <a:moveTo>
                      <a:pt x="66" y="734"/>
                    </a:moveTo>
                    <a:lnTo>
                      <a:pt x="66" y="587"/>
                    </a:lnTo>
                    <a:lnTo>
                      <a:pt x="944" y="81"/>
                    </a:lnTo>
                    <a:lnTo>
                      <a:pt x="1822" y="587"/>
                    </a:lnTo>
                    <a:lnTo>
                      <a:pt x="1822" y="734"/>
                    </a:lnTo>
                    <a:lnTo>
                      <a:pt x="1895" y="734"/>
                    </a:lnTo>
                    <a:lnTo>
                      <a:pt x="1895" y="546"/>
                    </a:lnTo>
                    <a:lnTo>
                      <a:pt x="948" y="0"/>
                    </a:lnTo>
                    <a:lnTo>
                      <a:pt x="0" y="546"/>
                    </a:lnTo>
                    <a:lnTo>
                      <a:pt x="0" y="734"/>
                    </a:lnTo>
                    <a:lnTo>
                      <a:pt x="66" y="7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41" name="组合 40"/>
            <p:cNvGrpSpPr/>
            <p:nvPr/>
          </p:nvGrpSpPr>
          <p:grpSpPr>
            <a:xfrm>
              <a:off x="2668588" y="3924300"/>
              <a:ext cx="3238500" cy="1312863"/>
              <a:chOff x="4478338" y="3976688"/>
              <a:chExt cx="3238500" cy="1312863"/>
            </a:xfrm>
            <a:grpFill/>
          </p:grpSpPr>
          <p:sp>
            <p:nvSpPr>
              <p:cNvPr id="42" name="Freeform 6"/>
              <p:cNvSpPr/>
              <p:nvPr>
                <p:custDataLst>
                  <p:tags r:id="rId16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  <a:gd name="T20" fmla="*/ 1020 w 2040"/>
                  <a:gd name="T21" fmla="*/ 807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  <a:lnTo>
                      <a:pt x="1020" y="8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43" name="Freeform 7"/>
              <p:cNvSpPr/>
              <p:nvPr>
                <p:custDataLst>
                  <p:tags r:id="rId17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44" name="Freeform 8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4592638" y="3976688"/>
                <a:ext cx="3008313" cy="1171575"/>
              </a:xfrm>
              <a:custGeom>
                <a:avLst/>
                <a:gdLst>
                  <a:gd name="T0" fmla="*/ 1822 w 1895"/>
                  <a:gd name="T1" fmla="*/ 0 h 738"/>
                  <a:gd name="T2" fmla="*/ 1822 w 1895"/>
                  <a:gd name="T3" fmla="*/ 150 h 738"/>
                  <a:gd name="T4" fmla="*/ 944 w 1895"/>
                  <a:gd name="T5" fmla="*/ 655 h 738"/>
                  <a:gd name="T6" fmla="*/ 66 w 1895"/>
                  <a:gd name="T7" fmla="*/ 150 h 738"/>
                  <a:gd name="T8" fmla="*/ 66 w 1895"/>
                  <a:gd name="T9" fmla="*/ 0 h 738"/>
                  <a:gd name="T10" fmla="*/ 0 w 1895"/>
                  <a:gd name="T11" fmla="*/ 0 h 738"/>
                  <a:gd name="T12" fmla="*/ 0 w 1895"/>
                  <a:gd name="T13" fmla="*/ 192 h 738"/>
                  <a:gd name="T14" fmla="*/ 948 w 1895"/>
                  <a:gd name="T15" fmla="*/ 738 h 738"/>
                  <a:gd name="T16" fmla="*/ 1895 w 1895"/>
                  <a:gd name="T17" fmla="*/ 192 h 738"/>
                  <a:gd name="T18" fmla="*/ 1895 w 1895"/>
                  <a:gd name="T19" fmla="*/ 0 h 738"/>
                  <a:gd name="T20" fmla="*/ 1822 w 1895"/>
                  <a:gd name="T21" fmla="*/ 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8">
                    <a:moveTo>
                      <a:pt x="1822" y="0"/>
                    </a:moveTo>
                    <a:lnTo>
                      <a:pt x="1822" y="150"/>
                    </a:lnTo>
                    <a:lnTo>
                      <a:pt x="944" y="655"/>
                    </a:lnTo>
                    <a:lnTo>
                      <a:pt x="66" y="150"/>
                    </a:lnTo>
                    <a:lnTo>
                      <a:pt x="66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948" y="738"/>
                    </a:lnTo>
                    <a:lnTo>
                      <a:pt x="1895" y="192"/>
                    </a:lnTo>
                    <a:lnTo>
                      <a:pt x="1895" y="0"/>
                    </a:lnTo>
                    <a:lnTo>
                      <a:pt x="182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</p:grpSp>
      <p:sp>
        <p:nvSpPr>
          <p:cNvPr id="48" name="矩形 47"/>
          <p:cNvSpPr/>
          <p:nvPr>
            <p:custDataLst>
              <p:tags r:id="rId7"/>
            </p:custDataLst>
          </p:nvPr>
        </p:nvSpPr>
        <p:spPr>
          <a:xfrm>
            <a:off x="1027781" y="4197014"/>
            <a:ext cx="645042" cy="5046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215" b="1" dirty="0">
                <a:solidFill>
                  <a:schemeClr val="tx1"/>
                </a:solidFill>
                <a:latin typeface="+mj-lt"/>
                <a:ea typeface="微软雅黑" charset="-122"/>
              </a:rPr>
              <a:t>04</a:t>
            </a:r>
          </a:p>
        </p:txBody>
      </p:sp>
      <p:sp>
        <p:nvSpPr>
          <p:cNvPr id="49" name="矩形 48"/>
          <p:cNvSpPr/>
          <p:nvPr>
            <p:custDataLst>
              <p:tags r:id="rId8"/>
            </p:custDataLst>
          </p:nvPr>
        </p:nvSpPr>
        <p:spPr>
          <a:xfrm>
            <a:off x="1782622" y="4270535"/>
            <a:ext cx="3190297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/>
            <a:r>
              <a:rPr lang="en-US" altLang="zh-CN" sz="2000" b="1" dirty="0"/>
              <a:t>Stock Selection Strategy</a:t>
            </a:r>
            <a:endParaRPr lang="zh-CN" altLang="en-US" sz="2000" b="1" dirty="0"/>
          </a:p>
        </p:txBody>
      </p:sp>
      <p:grpSp>
        <p:nvGrpSpPr>
          <p:cNvPr id="3" name="组合 2"/>
          <p:cNvGrpSpPr/>
          <p:nvPr/>
        </p:nvGrpSpPr>
        <p:grpSpPr>
          <a:xfrm>
            <a:off x="1125653" y="5138457"/>
            <a:ext cx="483087" cy="603788"/>
            <a:chOff x="2668588" y="1189513"/>
            <a:chExt cx="3238500" cy="4047650"/>
          </a:xfrm>
          <a:solidFill>
            <a:schemeClr val="bg2"/>
          </a:solidFill>
        </p:grpSpPr>
        <p:grpSp>
          <p:nvGrpSpPr>
            <p:cNvPr id="6" name="组合 5"/>
            <p:cNvGrpSpPr/>
            <p:nvPr/>
          </p:nvGrpSpPr>
          <p:grpSpPr>
            <a:xfrm>
              <a:off x="2668588" y="1189513"/>
              <a:ext cx="3238500" cy="1309688"/>
              <a:chOff x="4478338" y="1241901"/>
              <a:chExt cx="3238500" cy="1309688"/>
            </a:xfrm>
            <a:grpFill/>
          </p:grpSpPr>
          <p:sp>
            <p:nvSpPr>
              <p:cNvPr id="21" name="Freeform 5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4478338" y="1241901"/>
                <a:ext cx="3238500" cy="1309688"/>
              </a:xfrm>
              <a:custGeom>
                <a:avLst/>
                <a:gdLst>
                  <a:gd name="T0" fmla="*/ 13 w 2040"/>
                  <a:gd name="T1" fmla="*/ 825 h 825"/>
                  <a:gd name="T2" fmla="*/ 13 w 2040"/>
                  <a:gd name="T3" fmla="*/ 603 h 825"/>
                  <a:gd name="T4" fmla="*/ 1020 w 2040"/>
                  <a:gd name="T5" fmla="*/ 22 h 825"/>
                  <a:gd name="T6" fmla="*/ 2026 w 2040"/>
                  <a:gd name="T7" fmla="*/ 603 h 825"/>
                  <a:gd name="T8" fmla="*/ 2026 w 2040"/>
                  <a:gd name="T9" fmla="*/ 825 h 825"/>
                  <a:gd name="T10" fmla="*/ 2040 w 2040"/>
                  <a:gd name="T11" fmla="*/ 825 h 825"/>
                  <a:gd name="T12" fmla="*/ 2040 w 2040"/>
                  <a:gd name="T13" fmla="*/ 591 h 825"/>
                  <a:gd name="T14" fmla="*/ 1020 w 2040"/>
                  <a:gd name="T15" fmla="*/ 0 h 825"/>
                  <a:gd name="T16" fmla="*/ 0 w 2040"/>
                  <a:gd name="T17" fmla="*/ 591 h 825"/>
                  <a:gd name="T18" fmla="*/ 0 w 2040"/>
                  <a:gd name="T19" fmla="*/ 825 h 825"/>
                  <a:gd name="T20" fmla="*/ 13 w 2040"/>
                  <a:gd name="T21" fmla="*/ 825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5">
                    <a:moveTo>
                      <a:pt x="13" y="825"/>
                    </a:moveTo>
                    <a:lnTo>
                      <a:pt x="13" y="603"/>
                    </a:lnTo>
                    <a:lnTo>
                      <a:pt x="1020" y="22"/>
                    </a:lnTo>
                    <a:lnTo>
                      <a:pt x="2026" y="603"/>
                    </a:lnTo>
                    <a:lnTo>
                      <a:pt x="2026" y="825"/>
                    </a:lnTo>
                    <a:lnTo>
                      <a:pt x="2040" y="825"/>
                    </a:lnTo>
                    <a:lnTo>
                      <a:pt x="2040" y="591"/>
                    </a:lnTo>
                    <a:lnTo>
                      <a:pt x="1020" y="0"/>
                    </a:lnTo>
                    <a:lnTo>
                      <a:pt x="0" y="591"/>
                    </a:lnTo>
                    <a:lnTo>
                      <a:pt x="0" y="825"/>
                    </a:lnTo>
                    <a:lnTo>
                      <a:pt x="13" y="82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22" name="Freeform 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92638" y="1386364"/>
                <a:ext cx="3008313" cy="1165225"/>
              </a:xfrm>
              <a:custGeom>
                <a:avLst/>
                <a:gdLst>
                  <a:gd name="T0" fmla="*/ 66 w 1895"/>
                  <a:gd name="T1" fmla="*/ 734 h 734"/>
                  <a:gd name="T2" fmla="*/ 66 w 1895"/>
                  <a:gd name="T3" fmla="*/ 587 h 734"/>
                  <a:gd name="T4" fmla="*/ 944 w 1895"/>
                  <a:gd name="T5" fmla="*/ 81 h 734"/>
                  <a:gd name="T6" fmla="*/ 1822 w 1895"/>
                  <a:gd name="T7" fmla="*/ 587 h 734"/>
                  <a:gd name="T8" fmla="*/ 1822 w 1895"/>
                  <a:gd name="T9" fmla="*/ 734 h 734"/>
                  <a:gd name="T10" fmla="*/ 1895 w 1895"/>
                  <a:gd name="T11" fmla="*/ 734 h 734"/>
                  <a:gd name="T12" fmla="*/ 1895 w 1895"/>
                  <a:gd name="T13" fmla="*/ 546 h 734"/>
                  <a:gd name="T14" fmla="*/ 948 w 1895"/>
                  <a:gd name="T15" fmla="*/ 0 h 734"/>
                  <a:gd name="T16" fmla="*/ 0 w 1895"/>
                  <a:gd name="T17" fmla="*/ 546 h 734"/>
                  <a:gd name="T18" fmla="*/ 0 w 1895"/>
                  <a:gd name="T19" fmla="*/ 734 h 734"/>
                  <a:gd name="T20" fmla="*/ 66 w 1895"/>
                  <a:gd name="T21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4">
                    <a:moveTo>
                      <a:pt x="66" y="734"/>
                    </a:moveTo>
                    <a:lnTo>
                      <a:pt x="66" y="587"/>
                    </a:lnTo>
                    <a:lnTo>
                      <a:pt x="944" y="81"/>
                    </a:lnTo>
                    <a:lnTo>
                      <a:pt x="1822" y="587"/>
                    </a:lnTo>
                    <a:lnTo>
                      <a:pt x="1822" y="734"/>
                    </a:lnTo>
                    <a:lnTo>
                      <a:pt x="1895" y="734"/>
                    </a:lnTo>
                    <a:lnTo>
                      <a:pt x="1895" y="546"/>
                    </a:lnTo>
                    <a:lnTo>
                      <a:pt x="948" y="0"/>
                    </a:lnTo>
                    <a:lnTo>
                      <a:pt x="0" y="546"/>
                    </a:lnTo>
                    <a:lnTo>
                      <a:pt x="0" y="734"/>
                    </a:lnTo>
                    <a:lnTo>
                      <a:pt x="66" y="7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7" name="组合 16"/>
            <p:cNvGrpSpPr/>
            <p:nvPr/>
          </p:nvGrpSpPr>
          <p:grpSpPr>
            <a:xfrm>
              <a:off x="2668588" y="3924300"/>
              <a:ext cx="3238500" cy="1312863"/>
              <a:chOff x="4478338" y="3976688"/>
              <a:chExt cx="3238500" cy="1312863"/>
            </a:xfrm>
            <a:grpFill/>
          </p:grpSpPr>
          <p:sp>
            <p:nvSpPr>
              <p:cNvPr id="18" name="Freeform 6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  <a:gd name="T20" fmla="*/ 1020 w 2040"/>
                  <a:gd name="T21" fmla="*/ 807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  <a:lnTo>
                      <a:pt x="1020" y="8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9" name="Freeform 7"/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4478338" y="3976688"/>
                <a:ext cx="3238500" cy="1312863"/>
              </a:xfrm>
              <a:custGeom>
                <a:avLst/>
                <a:gdLst>
                  <a:gd name="T0" fmla="*/ 1020 w 2040"/>
                  <a:gd name="T1" fmla="*/ 807 h 827"/>
                  <a:gd name="T2" fmla="*/ 13 w 2040"/>
                  <a:gd name="T3" fmla="*/ 226 h 827"/>
                  <a:gd name="T4" fmla="*/ 13 w 2040"/>
                  <a:gd name="T5" fmla="*/ 0 h 827"/>
                  <a:gd name="T6" fmla="*/ 0 w 2040"/>
                  <a:gd name="T7" fmla="*/ 0 h 827"/>
                  <a:gd name="T8" fmla="*/ 0 w 2040"/>
                  <a:gd name="T9" fmla="*/ 236 h 827"/>
                  <a:gd name="T10" fmla="*/ 1020 w 2040"/>
                  <a:gd name="T11" fmla="*/ 827 h 827"/>
                  <a:gd name="T12" fmla="*/ 2040 w 2040"/>
                  <a:gd name="T13" fmla="*/ 236 h 827"/>
                  <a:gd name="T14" fmla="*/ 2040 w 2040"/>
                  <a:gd name="T15" fmla="*/ 0 h 827"/>
                  <a:gd name="T16" fmla="*/ 2026 w 2040"/>
                  <a:gd name="T17" fmla="*/ 0 h 827"/>
                  <a:gd name="T18" fmla="*/ 2026 w 2040"/>
                  <a:gd name="T19" fmla="*/ 225 h 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0" h="827">
                    <a:moveTo>
                      <a:pt x="1020" y="807"/>
                    </a:moveTo>
                    <a:lnTo>
                      <a:pt x="13" y="226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36"/>
                    </a:lnTo>
                    <a:lnTo>
                      <a:pt x="1020" y="827"/>
                    </a:lnTo>
                    <a:lnTo>
                      <a:pt x="2040" y="236"/>
                    </a:lnTo>
                    <a:lnTo>
                      <a:pt x="2040" y="0"/>
                    </a:lnTo>
                    <a:lnTo>
                      <a:pt x="2026" y="0"/>
                    </a:lnTo>
                    <a:lnTo>
                      <a:pt x="2026" y="22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20" name="Freeform 8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4592638" y="3976688"/>
                <a:ext cx="3008313" cy="1171575"/>
              </a:xfrm>
              <a:custGeom>
                <a:avLst/>
                <a:gdLst>
                  <a:gd name="T0" fmla="*/ 1822 w 1895"/>
                  <a:gd name="T1" fmla="*/ 0 h 738"/>
                  <a:gd name="T2" fmla="*/ 1822 w 1895"/>
                  <a:gd name="T3" fmla="*/ 150 h 738"/>
                  <a:gd name="T4" fmla="*/ 944 w 1895"/>
                  <a:gd name="T5" fmla="*/ 655 h 738"/>
                  <a:gd name="T6" fmla="*/ 66 w 1895"/>
                  <a:gd name="T7" fmla="*/ 150 h 738"/>
                  <a:gd name="T8" fmla="*/ 66 w 1895"/>
                  <a:gd name="T9" fmla="*/ 0 h 738"/>
                  <a:gd name="T10" fmla="*/ 0 w 1895"/>
                  <a:gd name="T11" fmla="*/ 0 h 738"/>
                  <a:gd name="T12" fmla="*/ 0 w 1895"/>
                  <a:gd name="T13" fmla="*/ 192 h 738"/>
                  <a:gd name="T14" fmla="*/ 948 w 1895"/>
                  <a:gd name="T15" fmla="*/ 738 h 738"/>
                  <a:gd name="T16" fmla="*/ 1895 w 1895"/>
                  <a:gd name="T17" fmla="*/ 192 h 738"/>
                  <a:gd name="T18" fmla="*/ 1895 w 1895"/>
                  <a:gd name="T19" fmla="*/ 0 h 738"/>
                  <a:gd name="T20" fmla="*/ 1822 w 1895"/>
                  <a:gd name="T21" fmla="*/ 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5" h="738">
                    <a:moveTo>
                      <a:pt x="1822" y="0"/>
                    </a:moveTo>
                    <a:lnTo>
                      <a:pt x="1822" y="150"/>
                    </a:lnTo>
                    <a:lnTo>
                      <a:pt x="944" y="655"/>
                    </a:lnTo>
                    <a:lnTo>
                      <a:pt x="66" y="150"/>
                    </a:lnTo>
                    <a:lnTo>
                      <a:pt x="66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948" y="738"/>
                    </a:lnTo>
                    <a:lnTo>
                      <a:pt x="1895" y="192"/>
                    </a:lnTo>
                    <a:lnTo>
                      <a:pt x="1895" y="0"/>
                    </a:lnTo>
                    <a:lnTo>
                      <a:pt x="182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4442" tIns="42221" rIns="84442" bIns="42221" numCol="1" anchor="t" anchorCtr="0" compatLnSpc="1"/>
              <a:lstStyle/>
              <a:p>
                <a:endParaRPr lang="zh-CN" altLang="en-US" sz="1755" b="1" dirty="0">
                  <a:ea typeface="微软雅黑 Light" panose="020B0502040204020203" pitchFamily="34" charset="-122"/>
                </a:endParaRPr>
              </a:p>
            </p:txBody>
          </p:sp>
        </p:grpSp>
      </p:grpSp>
      <p:sp>
        <p:nvSpPr>
          <p:cNvPr id="23" name="矩形 22"/>
          <p:cNvSpPr/>
          <p:nvPr>
            <p:custDataLst>
              <p:tags r:id="rId9"/>
            </p:custDataLst>
          </p:nvPr>
        </p:nvSpPr>
        <p:spPr>
          <a:xfrm>
            <a:off x="1040229" y="5174052"/>
            <a:ext cx="645042" cy="5046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215" b="1" dirty="0">
                <a:solidFill>
                  <a:schemeClr val="tx1"/>
                </a:solidFill>
                <a:latin typeface="+mj-lt"/>
                <a:ea typeface="微软雅黑" charset="-122"/>
              </a:rPr>
              <a:t>05</a:t>
            </a:r>
          </a:p>
        </p:txBody>
      </p:sp>
      <p:sp>
        <p:nvSpPr>
          <p:cNvPr id="24" name="矩形 23"/>
          <p:cNvSpPr/>
          <p:nvPr>
            <p:custDataLst>
              <p:tags r:id="rId10"/>
            </p:custDataLst>
          </p:nvPr>
        </p:nvSpPr>
        <p:spPr>
          <a:xfrm>
            <a:off x="1795070" y="5247573"/>
            <a:ext cx="2876108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/>
            <a:r>
              <a:rPr lang="en-US" altLang="zh-CN" sz="2000" b="1"/>
              <a:t>Picture </a:t>
            </a:r>
            <a:r>
              <a:rPr lang="en-US" altLang="zh-CN" sz="2000" b="1" dirty="0"/>
              <a:t>and Indicators</a:t>
            </a:r>
            <a:endParaRPr lang="zh-CN" altLang="en-US" sz="2000" b="1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726" y="1809614"/>
            <a:ext cx="6789416" cy="2337905"/>
          </a:xfrm>
          <a:prstGeom prst="rect">
            <a:avLst/>
          </a:prstGeom>
        </p:spPr>
      </p:pic>
      <p:sp>
        <p:nvSpPr>
          <p:cNvPr id="9" name="Text Placeholder 5"/>
          <p:cNvSpPr txBox="1"/>
          <p:nvPr/>
        </p:nvSpPr>
        <p:spPr>
          <a:xfrm>
            <a:off x="127670" y="1092578"/>
            <a:ext cx="9403035" cy="829171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C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ount the rebalancing days</a:t>
            </a:r>
            <a:endParaRPr lang="en-US" sz="2000" b="1" dirty="0">
              <a:solidFill>
                <a:srgbClr val="9B1717"/>
              </a:solidFill>
              <a:latin typeface="+mn-lt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The first trading date per month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741" y="4163637"/>
            <a:ext cx="5509024" cy="2506517"/>
          </a:xfrm>
          <a:prstGeom prst="rect">
            <a:avLst/>
          </a:prstGeom>
        </p:spPr>
      </p:pic>
      <p:sp>
        <p:nvSpPr>
          <p:cNvPr id="5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rcRect b="41449"/>
          <a:stretch>
            <a:fillRect/>
          </a:stretch>
        </p:blipFill>
        <p:spPr>
          <a:xfrm>
            <a:off x="1639838" y="4761942"/>
            <a:ext cx="6057422" cy="184964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9838" y="1921749"/>
            <a:ext cx="6057422" cy="2797581"/>
          </a:xfrm>
          <a:prstGeom prst="rect">
            <a:avLst/>
          </a:prstGeom>
        </p:spPr>
      </p:pic>
      <p:sp>
        <p:nvSpPr>
          <p:cNvPr id="9" name="Text Placeholder 5"/>
          <p:cNvSpPr txBox="1"/>
          <p:nvPr/>
        </p:nvSpPr>
        <p:spPr>
          <a:xfrm>
            <a:off x="127669" y="1092578"/>
            <a:ext cx="9776743" cy="829171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>
                <a:srgbClr val="9B1717"/>
              </a:buClr>
              <a:buSzTx/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ivide the stocks into 10 groups </a:t>
            </a: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Define the ‘grouped’ function;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Groupb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 date and apply(grouped); Prevent time overlap</a:t>
            </a:r>
          </a:p>
        </p:txBody>
      </p:sp>
      <p:sp>
        <p:nvSpPr>
          <p:cNvPr id="6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First rebalancing date: C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hoose 30 stocks with the lowest EP value. </a:t>
            </a:r>
            <a:endParaRPr lang="en-US" sz="2000" b="1" dirty="0">
              <a:solidFill>
                <a:srgbClr val="9B1717"/>
              </a:solidFill>
              <a:latin typeface="+mn-lt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Us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initial_cas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 = 12000 to buy the stocks and calculate the share of stocks</a:t>
            </a: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Consider the transaction fee to buy</a:t>
            </a: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326" y="2421682"/>
            <a:ext cx="8894061" cy="2340260"/>
          </a:xfrm>
          <a:prstGeom prst="rect">
            <a:avLst/>
          </a:prstGeom>
        </p:spPr>
      </p:pic>
      <p:sp>
        <p:nvSpPr>
          <p:cNvPr id="7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 txBox="1"/>
          <p:nvPr/>
        </p:nvSpPr>
        <p:spPr>
          <a:xfrm>
            <a:off x="229915" y="1048644"/>
            <a:ext cx="9403035" cy="1189211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Remaining rebalancing date</a:t>
            </a:r>
          </a:p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latino Linotype" panose="02040502050505030304" pitchFamily="18" charset="0"/>
                <a:ea typeface="+mn-ea"/>
                <a:cs typeface="Arial" panose="020B0604020202090204" pitchFamily="34" charset="0"/>
              </a:rPr>
              <a:t> 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Identify the tradable and non-tradable stocks</a:t>
            </a:r>
            <a:endParaRPr lang="en-US" sz="2000" b="1" dirty="0">
              <a:solidFill>
                <a:srgbClr val="9B1717"/>
              </a:solidFill>
              <a:latin typeface="+mn-lt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Calculate the value of current portfolio (T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ransaction fee to sell is included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90204" pitchFamily="34" charset="0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The value of non-tradable stocks + The value of tradable stocks</a:t>
            </a: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585" y="2649762"/>
            <a:ext cx="8696623" cy="173589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409" y="4886294"/>
            <a:ext cx="8968372" cy="1524696"/>
          </a:xfrm>
          <a:prstGeom prst="rect">
            <a:avLst/>
          </a:prstGeom>
        </p:spPr>
      </p:pic>
      <p:sp>
        <p:nvSpPr>
          <p:cNvPr id="9" name="Text Placeholder 5"/>
          <p:cNvSpPr txBox="1"/>
          <p:nvPr/>
        </p:nvSpPr>
        <p:spPr>
          <a:xfrm>
            <a:off x="47507" y="4428313"/>
            <a:ext cx="9736305" cy="6167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>
                <a:srgbClr val="9B1717"/>
              </a:buClr>
              <a:buSzTx/>
              <a:defRPr/>
            </a:pPr>
            <a:r>
              <a:rPr lang="en-US" sz="1800" dirty="0">
                <a:latin typeface="+mn-lt"/>
              </a:rPr>
              <a:t>According to the new rank of EP, determined which stocks to hold and which stocks to buy </a:t>
            </a: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sp>
        <p:nvSpPr>
          <p:cNvPr id="7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 txBox="1"/>
          <p:nvPr/>
        </p:nvSpPr>
        <p:spPr>
          <a:xfrm>
            <a:off x="43794" y="983508"/>
            <a:ext cx="9403035" cy="435856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>
                <a:srgbClr val="9B1717"/>
              </a:buClr>
              <a:buSzTx/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etermine stocks to sell  </a:t>
            </a: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9778" y="1366499"/>
            <a:ext cx="6084676" cy="2504219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840" y="4771604"/>
            <a:ext cx="8958646" cy="1296144"/>
          </a:xfrm>
          <a:prstGeom prst="rect">
            <a:avLst/>
          </a:prstGeom>
        </p:spPr>
      </p:pic>
      <p:sp>
        <p:nvSpPr>
          <p:cNvPr id="13" name="Text Placeholder 5"/>
          <p:cNvSpPr txBox="1"/>
          <p:nvPr/>
        </p:nvSpPr>
        <p:spPr>
          <a:xfrm>
            <a:off x="-7940" y="3870718"/>
            <a:ext cx="9403035" cy="435856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Sell target stocks and buy targets stock.</a:t>
            </a:r>
          </a:p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We have finish our portfolio adjustment for this day.  </a:t>
            </a: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sp>
        <p:nvSpPr>
          <p:cNvPr id="5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742" y="1931004"/>
            <a:ext cx="6867660" cy="4460900"/>
          </a:xfrm>
          <a:prstGeom prst="rect">
            <a:avLst/>
          </a:prstGeom>
        </p:spPr>
      </p:pic>
      <p:sp>
        <p:nvSpPr>
          <p:cNvPr id="6" name="Text Placeholder 5"/>
          <p:cNvSpPr txBox="1"/>
          <p:nvPr/>
        </p:nvSpPr>
        <p:spPr>
          <a:xfrm>
            <a:off x="446619" y="951158"/>
            <a:ext cx="9403035" cy="435856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1" fontAlgn="auto">
              <a:lnSpc>
                <a:spcPct val="100000"/>
              </a:lnSpc>
              <a:spcAft>
                <a:spcPts val="0"/>
              </a:spcAft>
              <a:buClr>
                <a:srgbClr val="9B1717"/>
              </a:buClr>
              <a:buSzTx/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Calculate the value of baseline model CSI500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>
                <a:srgbClr val="9B1717"/>
              </a:buClr>
              <a:buSzTx/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We just use initial cash to invest CSI500 and keep it for ten years  </a:t>
            </a: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  <a:p>
            <a:pPr marL="324485" marR="0" lvl="2" indent="0" algn="l" defTabSz="958215" rtl="0" eaLnBrk="1" fontAlgn="auto" latinLnBrk="0" hangingPunct="1">
              <a:lnSpc>
                <a:spcPct val="9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None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sp>
        <p:nvSpPr>
          <p:cNvPr id="7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435" y="1269554"/>
            <a:ext cx="9585542" cy="3035164"/>
          </a:xfrm>
          <a:prstGeom prst="rect">
            <a:avLst/>
          </a:prstGeom>
        </p:spPr>
      </p:pic>
      <p:sp>
        <p:nvSpPr>
          <p:cNvPr id="6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4: Stock Selection Strategy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sp>
        <p:nvSpPr>
          <p:cNvPr id="10" name="Text Placeholder 5"/>
          <p:cNvSpPr txBox="1"/>
          <p:nvPr/>
        </p:nvSpPr>
        <p:spPr>
          <a:xfrm>
            <a:off x="0" y="1035317"/>
            <a:ext cx="8912097" cy="1512168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Net value of EP factor hierarchical portfolio </a:t>
            </a:r>
            <a:r>
              <a:rPr lang="en-US" altLang="zh-CN" sz="2000" b="1" dirty="0" err="1">
                <a:solidFill>
                  <a:srgbClr val="9B1717"/>
                </a:solidFill>
                <a:latin typeface="+mn-lt"/>
              </a:rPr>
              <a:t>backtesting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. </a:t>
            </a:r>
          </a:p>
          <a:p>
            <a:pPr marR="0" lvl="1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Tx/>
              <a:buFont typeface="Palatino Linotype" panose="02040502050505030304" pitchFamily="18" charset="0"/>
              <a:buChar char="−"/>
              <a:defRPr/>
            </a:pPr>
            <a:r>
              <a:rPr lang="en-US" altLang="zh-CN" sz="1600" dirty="0">
                <a:solidFill>
                  <a:srgbClr val="000000"/>
                </a:solidFill>
                <a:latin typeface="+mn-lt"/>
                <a:cs typeface="Times New Roman" panose="02020503050405090304" pitchFamily="18" charset="0"/>
              </a:rPr>
              <a:t>H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Times New Roman" panose="02020503050405090304" pitchFamily="18" charset="0"/>
              </a:rPr>
              <a:t>ow much one yuan on January 2, 2014, which is the first trading day, turns into eventually.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0878" y="1689558"/>
            <a:ext cx="4598593" cy="2622546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798" y="4319988"/>
            <a:ext cx="6264696" cy="2312699"/>
          </a:xfrm>
          <a:prstGeom prst="rect">
            <a:avLst/>
          </a:prstGeom>
        </p:spPr>
      </p:pic>
      <p:sp>
        <p:nvSpPr>
          <p:cNvPr id="7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5: Picture and Indicators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2822" y="4317803"/>
            <a:ext cx="5868652" cy="2111197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885" y="4102912"/>
            <a:ext cx="3522937" cy="2444776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885" y="2180285"/>
            <a:ext cx="8540713" cy="1292103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379698" y="1148884"/>
            <a:ext cx="8540713" cy="96949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 algn="l">
              <a:buClr>
                <a:srgbClr val="C00000"/>
              </a:buClr>
              <a:buFont typeface="Arial" panose="020B0604020202090204" pitchFamily="34" charset="0"/>
              <a:buChar char="•"/>
            </a:pPr>
            <a:r>
              <a:rPr lang="en-US" altLang="zh-CN" sz="2000" b="1" dirty="0">
                <a:solidFill>
                  <a:srgbClr val="9B1717"/>
                </a:solidFill>
                <a:cs typeface="Arial" panose="020B0604020202090204" pitchFamily="34" charset="0"/>
              </a:rPr>
              <a:t>Calculate the IC value </a:t>
            </a:r>
            <a:endParaRPr lang="en-US" altLang="zh-CN" sz="1800" b="1" dirty="0">
              <a:solidFill>
                <a:srgbClr val="9B1717"/>
              </a:solidFill>
              <a:latin typeface="Times New Roman" panose="02020503050405090304" pitchFamily="18" charset="0"/>
              <a:cs typeface="Times New Roman" panose="02020503050405090304" pitchFamily="18" charset="0"/>
            </a:endParaRPr>
          </a:p>
          <a:p>
            <a:pPr marL="325755" lvl="1" indent="-133985">
              <a:spcBef>
                <a:spcPts val="600"/>
              </a:spcBef>
              <a:buClr>
                <a:srgbClr val="9B1717"/>
              </a:buClr>
              <a:buFont typeface="Palatino Linotype" panose="02040502050505030304" pitchFamily="18" charset="0"/>
              <a:buChar char="−"/>
              <a:defRPr/>
            </a:pPr>
            <a:r>
              <a:rPr lang="en-US" altLang="zh-CN" sz="1600" dirty="0">
                <a:solidFill>
                  <a:srgbClr val="000000"/>
                </a:solidFill>
                <a:cs typeface="Times New Roman" panose="02020503050405090304" pitchFamily="18" charset="0"/>
              </a:rPr>
              <a:t>The correlation coefficient between the factor sequence on the current day and the return rate sequence on the next day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449885" y="3610193"/>
            <a:ext cx="854071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 algn="l">
              <a:buClr>
                <a:srgbClr val="C00000"/>
              </a:buClr>
              <a:buFont typeface="Arial" panose="020B0604020202090204" pitchFamily="34" charset="0"/>
              <a:buChar char="•"/>
            </a:pPr>
            <a:r>
              <a:rPr lang="en-US" altLang="zh-CN" sz="2000" b="1" dirty="0">
                <a:solidFill>
                  <a:srgbClr val="9B1717"/>
                </a:solidFill>
                <a:cs typeface="Arial" panose="020B0604020202090204" pitchFamily="34" charset="0"/>
              </a:rPr>
              <a:t>Plotting IC Timing Diagrams</a:t>
            </a:r>
          </a:p>
        </p:txBody>
      </p:sp>
      <p:sp>
        <p:nvSpPr>
          <p:cNvPr id="9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5: Picture and Indicators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453" y="2159268"/>
            <a:ext cx="8973521" cy="1577958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45" y="3891836"/>
            <a:ext cx="8969740" cy="1374162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450850" y="1225685"/>
            <a:ext cx="8540713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>
              <a:buClr>
                <a:srgbClr val="C00000"/>
              </a:buClr>
              <a:buFont typeface="Arial" panose="020B0604020202090204" pitchFamily="34" charset="0"/>
              <a:buChar char="•"/>
            </a:pPr>
            <a:r>
              <a:rPr lang="en-US" altLang="zh-CN" sz="2000" b="1" dirty="0">
                <a:solidFill>
                  <a:srgbClr val="9B1717"/>
                </a:solidFill>
                <a:cs typeface="Arial" panose="020B0604020202090204" pitchFamily="34" charset="0"/>
              </a:rPr>
              <a:t> Statistical Characteristics of IC Values</a:t>
            </a:r>
          </a:p>
        </p:txBody>
      </p:sp>
      <p:sp>
        <p:nvSpPr>
          <p:cNvPr id="8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5: Picture and Indicators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324619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sz="2585" dirty="0">
                <a:solidFill>
                  <a:schemeClr val="bg2"/>
                </a:solidFill>
                <a:latin typeface="+mj-lt"/>
              </a:rPr>
              <a:t>Part 1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: Introduction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" name="Text Placeholder 5"/>
          <p:cNvSpPr txBox="1"/>
          <p:nvPr/>
        </p:nvSpPr>
        <p:spPr>
          <a:xfrm>
            <a:off x="268151" y="1233550"/>
            <a:ext cx="9184555" cy="5364596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10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9B1717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Goal:  Build a s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9B1717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ingle-factor stock selection strategy.</a:t>
            </a:r>
          </a:p>
          <a:p>
            <a:pPr marL="325755" marR="0" lvl="1" indent="-133985" algn="l" defTabSz="958215" rtl="0" eaLnBrk="1" fontAlgn="auto" latinLnBrk="0" hangingPunct="1">
              <a:lnSpc>
                <a:spcPct val="10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Steps</a:t>
            </a:r>
            <a:r>
              <a:rPr lang="en-US" altLang="zh-CN" sz="2000" dirty="0">
                <a:solidFill>
                  <a:srgbClr val="000000"/>
                </a:solidFill>
                <a:latin typeface="+mn-lt"/>
              </a:rPr>
              <a:t>: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90204" pitchFamily="34" charset="0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2000" b="1" dirty="0">
                <a:latin typeface="+mn-lt"/>
              </a:rPr>
              <a:t>Obtain A-share data 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latin typeface="+mn-lt"/>
              </a:rPr>
              <a:t>The daily data for A-shares are from the </a:t>
            </a:r>
            <a:r>
              <a:rPr lang="en-US" altLang="zh-CN" sz="1800" b="1" dirty="0" err="1">
                <a:latin typeface="+mn-lt"/>
              </a:rPr>
              <a:t>Tushare</a:t>
            </a:r>
            <a:r>
              <a:rPr lang="en-US" altLang="zh-CN" sz="1800" b="1" dirty="0">
                <a:latin typeface="+mn-lt"/>
              </a:rPr>
              <a:t> financial API</a:t>
            </a:r>
            <a:r>
              <a:rPr lang="en-US" altLang="zh-CN" sz="1800" dirty="0">
                <a:latin typeface="+mn-lt"/>
              </a:rPr>
              <a:t>, covering the period from </a:t>
            </a:r>
            <a:r>
              <a:rPr lang="en-US" altLang="zh-CN" sz="1800" b="1" dirty="0">
                <a:latin typeface="+mn-lt"/>
              </a:rPr>
              <a:t>January 1, 2014, to December 1, 2023</a:t>
            </a:r>
            <a:r>
              <a:rPr lang="en-US" altLang="zh-CN" sz="1800" dirty="0">
                <a:latin typeface="+mn-lt"/>
              </a:rPr>
              <a:t>.</a:t>
            </a: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Factor </a:t>
            </a:r>
            <a:r>
              <a:rPr lang="en-US" altLang="zh-CN" sz="2000" b="1" dirty="0" err="1">
                <a:solidFill>
                  <a:srgbClr val="000000"/>
                </a:solidFill>
                <a:latin typeface="+mn-lt"/>
              </a:rPr>
              <a:t>i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dentification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solidFill>
                  <a:srgbClr val="000000"/>
                </a:solidFill>
                <a:latin typeface="+mn-lt"/>
              </a:rPr>
              <a:t>The factor we focus on is </a:t>
            </a:r>
            <a:r>
              <a:rPr lang="en-US" altLang="zh-CN" sz="1800" b="1" dirty="0">
                <a:latin typeface="+mn-lt"/>
              </a:rPr>
              <a:t>Earnings-to-Price ratio (EP)</a:t>
            </a:r>
            <a:r>
              <a:rPr lang="en-US" altLang="zh-CN" sz="1800" dirty="0">
                <a:latin typeface="+mn-lt"/>
              </a:rPr>
              <a:t>, which is the inverse of the P/E ratio (</a:t>
            </a:r>
            <a:r>
              <a:rPr lang="en-US" altLang="zh-CN" sz="1800" b="1" dirty="0">
                <a:latin typeface="+mn-lt"/>
              </a:rPr>
              <a:t>1/PE_TTM)</a:t>
            </a:r>
            <a:r>
              <a:rPr lang="en-US" altLang="zh-CN" sz="1800" dirty="0">
                <a:latin typeface="+mn-lt"/>
              </a:rPr>
              <a:t>.</a:t>
            </a:r>
            <a:endParaRPr lang="en-US" altLang="zh-CN" sz="1800" dirty="0">
              <a:solidFill>
                <a:srgbClr val="000000"/>
              </a:solidFill>
              <a:latin typeface="+mn-lt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Data preprocessing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90204" pitchFamily="34" charset="0"/>
              </a:rPr>
              <a:t>Delete extreme values</a:t>
            </a:r>
            <a:r>
              <a:rPr lang="en-US" altLang="zh-CN" sz="1800" dirty="0">
                <a:solidFill>
                  <a:srgbClr val="000000"/>
                </a:solidFill>
                <a:latin typeface="+mn-lt"/>
              </a:rPr>
              <a:t>, </a:t>
            </a:r>
            <a:r>
              <a:rPr lang="en-US" altLang="zh-CN" sz="1800" dirty="0">
                <a:latin typeface="+mn-lt"/>
              </a:rPr>
              <a:t>Standardization</a:t>
            </a:r>
            <a:r>
              <a:rPr lang="en-US" altLang="zh-CN" sz="1800" dirty="0">
                <a:solidFill>
                  <a:srgbClr val="000000"/>
                </a:solidFill>
                <a:latin typeface="+mn-lt"/>
              </a:rPr>
              <a:t> and Industry market value </a:t>
            </a:r>
            <a:r>
              <a:rPr lang="en-US" altLang="zh-CN" sz="1800" b="0" i="0" u="none" strike="noStrike" dirty="0">
                <a:effectLst/>
                <a:latin typeface="+mn-lt"/>
              </a:rPr>
              <a:t>Zero-centered.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latin typeface="+mn-lt"/>
              </a:rPr>
              <a:t>Reasons: The distribution of</a:t>
            </a:r>
            <a:r>
              <a:rPr lang="zh-CN" altLang="en-US" sz="1800" dirty="0">
                <a:latin typeface="+mn-lt"/>
              </a:rPr>
              <a:t> </a:t>
            </a:r>
            <a:r>
              <a:rPr lang="en-US" altLang="zh-CN" sz="1800" dirty="0">
                <a:latin typeface="+mn-lt"/>
              </a:rPr>
              <a:t>factor may vary significantly across different industries and market values; If multiple factors are used, this ensures comparability between factors.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50850" y="1225685"/>
            <a:ext cx="10045972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marL="285750" indent="-285750" algn="l">
              <a:buClr>
                <a:srgbClr val="C00000"/>
              </a:buClr>
              <a:buFont typeface="Arial" panose="020B0604020202090204" pitchFamily="34" charset="0"/>
              <a:buChar char="•"/>
            </a:pPr>
            <a:r>
              <a:rPr lang="en-US" altLang="zh-CN" sz="1800" b="1" dirty="0">
                <a:solidFill>
                  <a:srgbClr val="9B1717"/>
                </a:solidFill>
                <a:cs typeface="Arial" panose="020B0604020202090204" pitchFamily="34" charset="0"/>
              </a:rPr>
              <a:t>Calculating Cumulative Returns, Annualized Returns, Sharpe Ratio Indicators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261" y="1917626"/>
            <a:ext cx="8329302" cy="4284476"/>
          </a:xfrm>
          <a:prstGeom prst="rect">
            <a:avLst/>
          </a:prstGeom>
        </p:spPr>
      </p:pic>
      <p:sp>
        <p:nvSpPr>
          <p:cNvPr id="7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5: Picture and Indicators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Arial" panose="020B060402020209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9778" y="1336414"/>
            <a:ext cx="6804756" cy="5170569"/>
          </a:xfrm>
          <a:prstGeom prst="rect">
            <a:avLst/>
          </a:prstGeom>
        </p:spPr>
      </p:pic>
      <p:sp>
        <p:nvSpPr>
          <p:cNvPr id="6" name="标题 1"/>
          <p:cNvSpPr txBox="1"/>
          <p:nvPr/>
        </p:nvSpPr>
        <p:spPr bwMode="auto">
          <a:xfrm>
            <a:off x="415702" y="406339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n-lt"/>
              </a:rPr>
              <a:t>Part 5: Picture and Indicators (cont.)</a:t>
            </a:r>
            <a:endParaRPr lang="en-US" sz="2585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矩形 24"/>
          <p:cNvSpPr/>
          <p:nvPr/>
        </p:nvSpPr>
        <p:spPr>
          <a:xfrm>
            <a:off x="3586455" y="2581038"/>
            <a:ext cx="2596924" cy="165032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marL="0" marR="0" lvl="0" indent="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5360" b="1" i="0" u="none" strike="noStrike" kern="1200" cap="none" spc="0" normalizeH="0" baseline="0" noProof="0" dirty="0">
                <a:ln>
                  <a:noFill/>
                </a:ln>
                <a:solidFill>
                  <a:srgbClr val="8F060C"/>
                </a:solidFill>
                <a:effectLst/>
                <a:uLnTx/>
                <a:uFillTx/>
                <a:latin typeface="Arial" panose="020B0604020202090204" pitchFamily="34" charset="0"/>
                <a:ea typeface="微软雅黑" charset="-122"/>
                <a:cs typeface="Arial" panose="020B0604020202090204" pitchFamily="34" charset="0"/>
                <a:sym typeface="Times New Roman" panose="02020503050405090304" pitchFamily="18" charset="0"/>
              </a:rPr>
              <a:t>Thanks !</a:t>
            </a:r>
            <a:endParaRPr kumimoji="0" lang="zh-CN" altLang="en-US" sz="5360" b="1" i="0" u="none" strike="noStrike" kern="1200" cap="none" spc="0" normalizeH="0" baseline="0" noProof="0" dirty="0">
              <a:ln>
                <a:noFill/>
              </a:ln>
              <a:solidFill>
                <a:srgbClr val="8F060C"/>
              </a:solidFill>
              <a:effectLst/>
              <a:uLnTx/>
              <a:uFillTx/>
              <a:latin typeface="Arial" panose="020B0604020202090204" pitchFamily="34" charset="0"/>
              <a:ea typeface="微软雅黑" charset="-122"/>
              <a:cs typeface="Arial" panose="020B0604020202090204" pitchFamily="34" charset="0"/>
              <a:sym typeface="Times New Roman" panose="02020503050405090304" pitchFamily="18" charset="0"/>
            </a:endParaRPr>
          </a:p>
          <a:p>
            <a:pPr marL="0" marR="0" lvl="0" indent="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5360" b="1" i="0" u="none" strike="noStrike" kern="1200" cap="none" spc="0" normalizeH="0" baseline="0" noProof="0" dirty="0">
              <a:ln>
                <a:noFill/>
              </a:ln>
              <a:solidFill>
                <a:srgbClr val="8F060C"/>
              </a:solidFill>
              <a:effectLst/>
              <a:uLnTx/>
              <a:uFillTx/>
              <a:latin typeface="Arial" panose="020B0604020202090204" pitchFamily="34" charset="0"/>
              <a:ea typeface="微软雅黑" charset="-122"/>
              <a:cs typeface="Arial" panose="020B0604020202090204" pitchFamily="34" charset="0"/>
              <a:sym typeface="Times New Roman" panose="02020503050405090304" pitchFamily="18" charset="0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9" r="8188" b="25285"/>
          <a:stretch>
            <a:fillRect/>
          </a:stretch>
        </p:blipFill>
        <p:spPr>
          <a:xfrm>
            <a:off x="8048550" y="297446"/>
            <a:ext cx="1757201" cy="477731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58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/>
                <a:ea typeface="+mn-ea"/>
                <a:cs typeface="+mn-cs"/>
              </a:rPr>
              <a:t>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63675" y="1161488"/>
            <a:ext cx="8892988" cy="498054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88595" indent="-188595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>
                <a:latin typeface="Palatino Linotype" panose="02040502050505030304" pitchFamily="18" charset="0"/>
                <a:cs typeface="Arial" panose="020B0604020202090204" pitchFamily="34" charset="0"/>
              </a:defRPr>
            </a:lvl1pPr>
            <a:lvl2pPr marL="325755" marR="0" lvl="1" indent="-133985" fontAlgn="auto">
              <a:lnSpc>
                <a:spcPct val="10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 kumimoji="0" sz="2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90204" pitchFamily="34" charset="0"/>
              </a:defRPr>
            </a:lvl2pPr>
            <a:lvl3pPr marL="513080" marR="0" lvl="2" indent="-188595" fontAlgn="auto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 sz="2000" b="1">
                <a:latin typeface="+mj-lt"/>
                <a:cs typeface="Arial" panose="020B0604020202090204" pitchFamily="34" charset="0"/>
              </a:defRPr>
            </a:lvl3pPr>
            <a:lvl4pPr marL="663575" indent="-143510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>
                <a:latin typeface="Palatino Linotype" panose="02040502050505030304" pitchFamily="18" charset="0"/>
                <a:cs typeface="Arial" panose="020B0604020202090204" pitchFamily="34" charset="0"/>
              </a:defRPr>
            </a:lvl4pPr>
            <a:lvl5pPr marL="807085"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 sz="2000">
                <a:latin typeface="+mj-lt"/>
                <a:cs typeface="Arial" panose="020B0604020202090204" pitchFamily="34" charset="0"/>
              </a:defRPr>
            </a:lvl5pPr>
            <a:lvl6pPr marL="2633980" indent="-239395">
              <a:spcBef>
                <a:spcPct val="20000"/>
              </a:spcBef>
              <a:buFont typeface="Arial" panose="020B0604020202090204" pitchFamily="34" charset="0"/>
              <a:buChar char="•"/>
              <a:defRPr sz="2100"/>
            </a:lvl6pPr>
            <a:lvl7pPr marL="3113405" indent="-239395">
              <a:spcBef>
                <a:spcPct val="20000"/>
              </a:spcBef>
              <a:buFont typeface="Arial" panose="020B0604020202090204" pitchFamily="34" charset="0"/>
              <a:buChar char="•"/>
              <a:defRPr sz="2100"/>
            </a:lvl7pPr>
            <a:lvl8pPr marL="3592195" indent="-239395">
              <a:spcBef>
                <a:spcPct val="20000"/>
              </a:spcBef>
              <a:buFont typeface="Arial" panose="020B0604020202090204" pitchFamily="34" charset="0"/>
              <a:buChar char="•"/>
              <a:defRPr sz="2100"/>
            </a:lvl8pPr>
            <a:lvl9pPr marL="4070985" indent="-239395">
              <a:spcBef>
                <a:spcPct val="20000"/>
              </a:spcBef>
              <a:buFont typeface="Arial" panose="020B0604020202090204" pitchFamily="34" charset="0"/>
              <a:buChar char="•"/>
              <a:defRPr sz="2100"/>
            </a:lvl9pPr>
          </a:lstStyle>
          <a:p>
            <a:pPr lvl="2"/>
            <a:r>
              <a:rPr lang="en-US" altLang="zh-CN" dirty="0"/>
              <a:t>Stock ranking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grouping</a:t>
            </a:r>
          </a:p>
          <a:p>
            <a:pPr lvl="4"/>
            <a:r>
              <a:rPr lang="en-US" altLang="zh-CN" sz="1800" dirty="0">
                <a:latin typeface="+mj-lt"/>
              </a:rPr>
              <a:t>Stocks are ranked by their factor values and divided into decile-based groups.</a:t>
            </a:r>
          </a:p>
          <a:p>
            <a:pPr lvl="2"/>
            <a:r>
              <a:rPr lang="en-US" altLang="zh-CN" dirty="0"/>
              <a:t>Portfolio Construction</a:t>
            </a:r>
          </a:p>
          <a:p>
            <a:pPr lvl="4"/>
            <a:r>
              <a:rPr lang="en-US" altLang="zh-CN" sz="1800" dirty="0">
                <a:latin typeface="+mj-lt"/>
              </a:rPr>
              <a:t>The bottom 30 stocks are selected within each group.</a:t>
            </a:r>
          </a:p>
          <a:p>
            <a:pPr lvl="2"/>
            <a:r>
              <a:rPr lang="en-US" altLang="zh-CN" dirty="0"/>
              <a:t>Rebalancing</a:t>
            </a:r>
          </a:p>
          <a:p>
            <a:pPr lvl="4"/>
            <a:r>
              <a:rPr lang="en-US" altLang="zh-CN" sz="1800" dirty="0">
                <a:latin typeface="+mj-lt"/>
              </a:rPr>
              <a:t>On the designated rebalancing dates,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recalculate factor rankings and adjust the portfolio. The first trading day of each month is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chosen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as the rebalancing date.</a:t>
            </a:r>
          </a:p>
          <a:p>
            <a:pPr lvl="2"/>
            <a:r>
              <a:rPr lang="en-US" altLang="zh-CN" dirty="0"/>
              <a:t>Performance Monitoring</a:t>
            </a:r>
          </a:p>
          <a:p>
            <a:pPr lvl="4"/>
            <a:r>
              <a:rPr lang="en-US" altLang="zh-CN" sz="1800" dirty="0">
                <a:latin typeface="+mj-lt"/>
              </a:rPr>
              <a:t>Track the portfolio's returns over time and plot a benchmark return graph (compared to the CSI 500 return rate).</a:t>
            </a:r>
          </a:p>
          <a:p>
            <a:pPr lvl="4"/>
            <a:r>
              <a:rPr lang="en-US" altLang="zh-CN" sz="1800" dirty="0">
                <a:latin typeface="+mj-lt"/>
              </a:rPr>
              <a:t>Calculate the factor Information Coefficient (IC) value, Sharpe ratio and annual return.</a:t>
            </a: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1: Introduction (cont.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 txBox="1"/>
          <p:nvPr/>
        </p:nvSpPr>
        <p:spPr>
          <a:xfrm>
            <a:off x="268151" y="1378005"/>
            <a:ext cx="9184555" cy="5364596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5755" marR="0" lvl="1" indent="-133985" algn="l" defTabSz="958215" rtl="0" eaLnBrk="1" fontAlgn="auto" latinLnBrk="0" hangingPunct="1">
              <a:lnSpc>
                <a:spcPct val="100000"/>
              </a:lnSpc>
              <a:spcBef>
                <a:spcPts val="945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•"/>
              <a:defRPr/>
            </a:pP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Why are we doing this?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9B1717"/>
              </a:solidFill>
              <a:effectLst/>
              <a:uLnTx/>
              <a:uFillTx/>
              <a:latin typeface="+mn-lt"/>
              <a:ea typeface="+mn-ea"/>
              <a:cs typeface="Arial" panose="020B0604020202090204" pitchFamily="34" charset="0"/>
            </a:endParaRP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2000" b="1" dirty="0">
                <a:latin typeface="+mn-lt"/>
              </a:rPr>
              <a:t>Beginner-Friendly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latin typeface="+mn-lt"/>
              </a:rPr>
              <a:t>A basic, adaptable quantitative trading strategy.</a:t>
            </a:r>
          </a:p>
          <a:p>
            <a:pPr marL="513080" marR="0" lvl="2" indent="-188595" algn="l" defTabSz="95821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90204" pitchFamily="34" charset="0"/>
              <a:buChar char="–"/>
              <a:defRPr/>
            </a:pPr>
            <a:r>
              <a:rPr lang="en-US" altLang="zh-CN" sz="2000" b="1" dirty="0">
                <a:latin typeface="+mn-lt"/>
              </a:rPr>
              <a:t>Self-Coded Advantage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latin typeface="+mn-lt"/>
              </a:rPr>
              <a:t>We code from scratch (using</a:t>
            </a:r>
            <a:r>
              <a:rPr lang="zh-CN" altLang="en-US" sz="1800" dirty="0">
                <a:latin typeface="+mn-lt"/>
              </a:rPr>
              <a:t> </a:t>
            </a:r>
            <a:r>
              <a:rPr lang="en-US" altLang="zh-CN" sz="1800" dirty="0" err="1">
                <a:latin typeface="+mn-lt"/>
              </a:rPr>
              <a:t>numpy</a:t>
            </a:r>
            <a:r>
              <a:rPr lang="en-US" altLang="zh-CN" sz="1800" dirty="0">
                <a:latin typeface="+mn-lt"/>
              </a:rPr>
              <a:t>, pandas, </a:t>
            </a:r>
            <a:r>
              <a:rPr lang="en-US" altLang="zh-CN" sz="1800" dirty="0" err="1">
                <a:latin typeface="+mn-lt"/>
              </a:rPr>
              <a:t>sklearn</a:t>
            </a:r>
            <a:r>
              <a:rPr lang="zh-CN" altLang="en-US" sz="1800" dirty="0">
                <a:latin typeface="+mn-lt"/>
              </a:rPr>
              <a:t> </a:t>
            </a:r>
            <a:r>
              <a:rPr lang="en-US" altLang="zh-CN" sz="1800" dirty="0">
                <a:latin typeface="+mn-lt"/>
              </a:rPr>
              <a:t>packages) without relying on</a:t>
            </a:r>
            <a:r>
              <a:rPr lang="zh-CN" altLang="en-US" sz="1800" dirty="0">
                <a:latin typeface="+mn-lt"/>
              </a:rPr>
              <a:t> </a:t>
            </a:r>
            <a:r>
              <a:rPr lang="en-US" altLang="zh-CN" sz="1800" dirty="0">
                <a:latin typeface="+mn-lt"/>
              </a:rPr>
              <a:t>existing</a:t>
            </a:r>
            <a:r>
              <a:rPr lang="zh-CN" altLang="en-US" sz="1800" dirty="0">
                <a:latin typeface="+mn-lt"/>
              </a:rPr>
              <a:t> </a:t>
            </a:r>
            <a:r>
              <a:rPr lang="en-US" altLang="zh-CN" sz="1800" dirty="0">
                <a:latin typeface="+mn-lt"/>
              </a:rPr>
              <a:t>related packages.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latin typeface="+mn-lt"/>
              </a:rPr>
              <a:t>Allows for tailored adjustments that better align with real-world needs.</a:t>
            </a:r>
          </a:p>
          <a:p>
            <a:pPr lvl="4" indent="-188595">
              <a:lnSpc>
                <a:spcPct val="100000"/>
              </a:lnSpc>
              <a:spcBef>
                <a:spcPts val="630"/>
              </a:spcBef>
              <a:buClr>
                <a:srgbClr val="9B1717"/>
              </a:buClr>
              <a:buFont typeface="Arial" panose="020B0604020202090204" pitchFamily="34" charset="0"/>
              <a:buChar char="–"/>
              <a:defRPr/>
            </a:pPr>
            <a:r>
              <a:rPr lang="en-US" altLang="zh-CN" sz="1800" dirty="0">
                <a:latin typeface="+mn-lt"/>
              </a:rPr>
              <a:t>Reduces the risk of strategy leakage; for instance, running a strategy on an online platform using their framework can expose it to potential security risks.</a:t>
            </a: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1: Introduction (cont.)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ownload data from </a:t>
            </a:r>
            <a:r>
              <a:rPr lang="en-US" sz="2000" b="1" dirty="0" err="1">
                <a:solidFill>
                  <a:srgbClr val="9B1717"/>
                </a:solidFill>
                <a:latin typeface="+mn-lt"/>
              </a:rPr>
              <a:t>Tushare</a:t>
            </a:r>
            <a:endParaRPr lang="en-US" sz="2000" b="1" dirty="0">
              <a:solidFill>
                <a:srgbClr val="9B1717"/>
              </a:solidFill>
              <a:latin typeface="+mn-lt"/>
            </a:endParaRPr>
          </a:p>
          <a:p>
            <a:pPr marL="191770" lvl="1" indent="0">
              <a:buNone/>
            </a:pPr>
            <a:endParaRPr lang="en-US" sz="1600" b="1" dirty="0"/>
          </a:p>
          <a:p>
            <a:pPr lvl="2"/>
            <a:r>
              <a:rPr lang="en-US" altLang="zh-CN" sz="2000" dirty="0">
                <a:effectLst/>
                <a:latin typeface="+mn-lt"/>
              </a:rPr>
              <a:t>Call the </a:t>
            </a:r>
            <a:r>
              <a:rPr lang="en-US" altLang="zh-CN" sz="2000" dirty="0" err="1">
                <a:effectLst/>
                <a:latin typeface="+mn-lt"/>
              </a:rPr>
              <a:t>Tushare</a:t>
            </a:r>
            <a:r>
              <a:rPr lang="en-US" altLang="zh-CN" sz="2000" dirty="0">
                <a:effectLst/>
                <a:latin typeface="+mn-lt"/>
              </a:rPr>
              <a:t> data interface.</a:t>
            </a:r>
          </a:p>
          <a:p>
            <a:pPr marL="324485" lvl="2" indent="0">
              <a:buNone/>
            </a:pPr>
            <a:r>
              <a:rPr lang="en-US" altLang="zh-CN" sz="1800" b="0" dirty="0">
                <a:solidFill>
                  <a:srgbClr val="9CDCFE"/>
                </a:solidFill>
                <a:effectLst/>
                <a:latin typeface="+mn-lt"/>
              </a:rPr>
              <a:t>   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token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f558cbc6b24ed78c2104e209a8a8986b33ec66b7c55bcfa2f46bc108’</a:t>
            </a:r>
          </a:p>
          <a:p>
            <a:pPr marL="324485" lvl="2" indent="0">
              <a:buNone/>
            </a:pPr>
            <a:r>
              <a:rPr lang="en-US" altLang="zh-CN" sz="1800" dirty="0">
                <a:solidFill>
                  <a:srgbClr val="CE9178"/>
                </a:solidFill>
                <a:latin typeface="+mn-lt"/>
              </a:rPr>
              <a:t>   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# Set the Token for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Tushare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. This ensures that all subsequent API requests are properly authorized with the provided credentials.</a:t>
            </a:r>
            <a:endParaRPr lang="en-US" altLang="zh-CN" sz="1800" dirty="0">
              <a:solidFill>
                <a:srgbClr val="CCCCCC"/>
              </a:solidFill>
              <a:latin typeface="+mn-lt"/>
            </a:endParaRPr>
          </a:p>
          <a:p>
            <a:pPr marL="324485" lvl="2" indent="0">
              <a:buNone/>
            </a:pP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    </a:t>
            </a:r>
            <a:r>
              <a:rPr lang="en-US" altLang="zh-CN" sz="18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ts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set_token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token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474980" lvl="3" indent="0">
              <a:buNone/>
            </a:pP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# Create an </a:t>
            </a:r>
            <a:r>
              <a:rPr lang="en-US" altLang="zh-CN" sz="1800" b="1" dirty="0">
                <a:solidFill>
                  <a:srgbClr val="6A9955"/>
                </a:solidFill>
                <a:effectLst/>
                <a:latin typeface="+mn-lt"/>
              </a:rPr>
              <a:t>API instance 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called pro. This instance will be used for interacting with the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Tushare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API, allowing us to make various data requests, such as retrieving stock data</a:t>
            </a:r>
            <a:r>
              <a:rPr lang="en-US" altLang="zh-CN" sz="1800" dirty="0">
                <a:solidFill>
                  <a:srgbClr val="6A9955"/>
                </a:solidFill>
                <a:latin typeface="+mn-lt"/>
              </a:rPr>
              <a:t>.</a:t>
            </a:r>
            <a:endParaRPr lang="en-US" altLang="zh-CN" sz="1800" b="0" dirty="0">
              <a:solidFill>
                <a:srgbClr val="CCCCCC"/>
              </a:solidFill>
              <a:effectLst/>
              <a:latin typeface="+mn-lt"/>
            </a:endParaRPr>
          </a:p>
          <a:p>
            <a:pPr marL="324485" lvl="2" indent="0">
              <a:buNone/>
            </a:pPr>
            <a:r>
              <a:rPr lang="en-US" altLang="zh-CN" sz="1800" dirty="0">
                <a:solidFill>
                  <a:srgbClr val="CCCCCC"/>
                </a:solidFill>
                <a:latin typeface="+mn-lt"/>
              </a:rPr>
              <a:t>   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pro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ts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pro_api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</a:t>
            </a:r>
          </a:p>
          <a:p>
            <a:pPr marL="324485" lvl="2" indent="0">
              <a:buNone/>
            </a:pPr>
            <a:endParaRPr lang="en-US" altLang="zh-CN" sz="1600" dirty="0">
              <a:solidFill>
                <a:srgbClr val="CCCCCC"/>
              </a:solidFill>
            </a:endParaRPr>
          </a:p>
          <a:p>
            <a:pPr marL="324485" lvl="2" indent="0">
              <a:buNone/>
            </a:pPr>
            <a:endParaRPr lang="en-US" altLang="zh-CN" sz="1600" b="0" dirty="0">
              <a:effectLst/>
            </a:endParaRPr>
          </a:p>
          <a:p>
            <a:pPr lvl="2"/>
            <a:endParaRPr lang="en-US" altLang="zh-CN" sz="1600" b="0" dirty="0">
              <a:effectLst/>
            </a:endParaRPr>
          </a:p>
          <a:p>
            <a:pPr lvl="2"/>
            <a:endParaRPr lang="en-US" sz="16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50688" y="1022487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ownload data from </a:t>
            </a:r>
            <a:r>
              <a:rPr lang="en-US" sz="2000" b="1" dirty="0" err="1">
                <a:solidFill>
                  <a:srgbClr val="9B1717"/>
                </a:solidFill>
                <a:latin typeface="+mn-lt"/>
              </a:rPr>
              <a:t>Tushare</a:t>
            </a:r>
            <a:endParaRPr lang="en-US" altLang="zh-CN" sz="1600" dirty="0">
              <a:solidFill>
                <a:srgbClr val="CCCCCC"/>
              </a:solidFill>
              <a:latin typeface="+mn-lt"/>
            </a:endParaRPr>
          </a:p>
          <a:p>
            <a:pPr lvl="2">
              <a:spcBef>
                <a:spcPts val="1500"/>
              </a:spcBef>
            </a:pPr>
            <a:r>
              <a:rPr lang="en-US" altLang="zh-CN" sz="2000" dirty="0">
                <a:effectLst/>
                <a:latin typeface="+mn-lt"/>
              </a:rPr>
              <a:t>Retrieve relevant data for all listed stocks within a specified date range from the </a:t>
            </a:r>
            <a:r>
              <a:rPr lang="en-US" altLang="zh-CN" sz="2000" dirty="0" err="1">
                <a:effectLst/>
                <a:latin typeface="+mn-lt"/>
              </a:rPr>
              <a:t>Tushare</a:t>
            </a:r>
            <a:r>
              <a:rPr lang="en-US" altLang="zh-CN" sz="2000" dirty="0">
                <a:effectLst/>
                <a:latin typeface="+mn-lt"/>
              </a:rPr>
              <a:t> API and organize it into a Pandas </a:t>
            </a:r>
            <a:r>
              <a:rPr lang="en-US" altLang="zh-CN" sz="2000" dirty="0" err="1">
                <a:effectLst/>
                <a:latin typeface="+mn-lt"/>
              </a:rPr>
              <a:t>DataFrame</a:t>
            </a:r>
            <a:r>
              <a:rPr lang="en-US" altLang="zh-CN" sz="2000" dirty="0">
                <a:effectLst/>
                <a:latin typeface="+mn-lt"/>
              </a:rPr>
              <a:t> for subsequent analysis and use.</a:t>
            </a:r>
          </a:p>
          <a:p>
            <a:pPr marL="324485" lvl="2" indent="0">
              <a:lnSpc>
                <a:spcPct val="100000"/>
              </a:lnSpc>
              <a:buNone/>
            </a:pPr>
            <a:r>
              <a:rPr lang="en-US" altLang="zh-CN" sz="1600" dirty="0">
                <a:solidFill>
                  <a:srgbClr val="6A9955"/>
                </a:solidFill>
                <a:latin typeface="+mn-lt"/>
              </a:rPr>
              <a:t># Define the </a:t>
            </a:r>
            <a:r>
              <a:rPr lang="en-US" altLang="zh-CN" sz="1600" b="1" dirty="0" err="1">
                <a:solidFill>
                  <a:srgbClr val="6A9955"/>
                </a:solidFill>
                <a:latin typeface="+mn-lt"/>
              </a:rPr>
              <a:t>access_data</a:t>
            </a:r>
            <a:r>
              <a:rPr lang="en-US" altLang="zh-CN" sz="1600" b="1" dirty="0">
                <a:solidFill>
                  <a:srgbClr val="6A9955"/>
                </a:solidFill>
                <a:latin typeface="+mn-lt"/>
              </a:rPr>
              <a:t> function </a:t>
            </a:r>
            <a:r>
              <a:rPr lang="en-US" altLang="zh-CN" sz="1600" dirty="0">
                <a:solidFill>
                  <a:srgbClr val="6A9955"/>
                </a:solidFill>
                <a:latin typeface="+mn-lt"/>
              </a:rPr>
              <a:t>to store the listed stocks’ data.</a:t>
            </a:r>
            <a:endParaRPr lang="en-US" altLang="zh-CN" sz="1600" b="0" dirty="0">
              <a:effectLst/>
              <a:latin typeface="+mn-lt"/>
            </a:endParaRP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def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access_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art_dat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end_dat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pro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: 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code_lis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pro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stock_basic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exchange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list_status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L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fields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’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 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code_lis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code_lis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.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tolis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resul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[]</a:t>
            </a:r>
            <a:b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</a:b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# Fetch each </a:t>
            </a:r>
            <a:r>
              <a:rPr lang="en-US" altLang="zh-CN" sz="1600" dirty="0">
                <a:solidFill>
                  <a:srgbClr val="6A9955"/>
                </a:solidFill>
                <a:latin typeface="+mn-lt"/>
              </a:rPr>
              <a:t>s</a:t>
            </a:r>
            <a:r>
              <a:rPr lang="en-US" altLang="zh-CN" sz="1600" b="0" dirty="0">
                <a:solidFill>
                  <a:srgbClr val="6A9955"/>
                </a:solidFill>
                <a:effectLst/>
                <a:latin typeface="+mn-lt"/>
              </a:rPr>
              <a:t>tock’s financial data from 2014.1.1 to 2024.1.5.</a:t>
            </a:r>
            <a:endParaRPr lang="en-US" altLang="zh-CN" sz="1600" dirty="0">
              <a:solidFill>
                <a:srgbClr val="6A9955"/>
              </a:solidFill>
              <a:latin typeface="+mn-lt"/>
            </a:endParaRP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C586C0"/>
                </a:solidFill>
                <a:effectLst/>
                <a:highlight>
                  <a:srgbClr val="000000"/>
                </a:highlight>
                <a:latin typeface="+mn-lt"/>
              </a:rPr>
              <a:t>for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id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in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code_lis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: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_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pro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stk_factor_pro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id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art_dat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20140101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end_dat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20240105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fields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close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urnover_rat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urnover_rate_f,volume_ratio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pe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e_ttm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pb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s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s_ttm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dv_ratio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dv_ttm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otal_shar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float_shar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free_shar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otal_mv,circ_mv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result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6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append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_data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dirty="0">
                <a:solidFill>
                  <a:srgbClr val="6A9955"/>
                </a:solidFill>
                <a:latin typeface="+mn-lt"/>
              </a:rPr>
              <a:t>        # The result list is converted into a Pandas </a:t>
            </a:r>
            <a:r>
              <a:rPr lang="en-US" altLang="zh-CN" sz="1600" dirty="0" err="1">
                <a:solidFill>
                  <a:srgbClr val="6A9955"/>
                </a:solidFill>
                <a:latin typeface="+mn-lt"/>
              </a:rPr>
              <a:t>DataFrame</a:t>
            </a:r>
            <a:r>
              <a:rPr lang="en-US" altLang="zh-CN" sz="1600" dirty="0">
                <a:solidFill>
                  <a:srgbClr val="6A9955"/>
                </a:solidFill>
                <a:latin typeface="+mn-lt"/>
              </a:rPr>
              <a:t>.</a:t>
            </a:r>
            <a:endParaRPr lang="en-US" altLang="zh-CN" sz="1600" b="0" dirty="0">
              <a:solidFill>
                <a:srgbClr val="CCCCCC"/>
              </a:solidFill>
              <a:effectLst/>
              <a:highlight>
                <a:srgbClr val="000000"/>
              </a:highlight>
              <a:latin typeface="+mn-lt"/>
            </a:endParaRP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zh-CN" altLang="en-US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result_df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pd</a:t>
            </a:r>
            <a:r>
              <a:rPr lang="en-US" altLang="zh-CN" sz="16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6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DataFrame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result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columns</a:t>
            </a:r>
            <a:r>
              <a:rPr lang="en-US" altLang="zh-CN" sz="16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[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s_cod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rade_dat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close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urnover_rat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urnover_rate_f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volume_ratio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pe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e_ttm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pb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s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ps_ttm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dv_ratio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dv_ttm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otal_shar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float_shar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free_share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otal_mv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6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circ_mv</a:t>
            </a:r>
            <a:r>
              <a:rPr lang="en-US" altLang="zh-CN" sz="16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’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])</a:t>
            </a:r>
            <a:endParaRPr lang="en-US" altLang="zh-CN" sz="1600" dirty="0">
              <a:solidFill>
                <a:srgbClr val="6A9955"/>
              </a:solidFill>
              <a:latin typeface="+mn-lt"/>
            </a:endParaRP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600" b="0" dirty="0">
                <a:solidFill>
                  <a:srgbClr val="C586C0"/>
                </a:solidFill>
                <a:effectLst/>
                <a:highlight>
                  <a:srgbClr val="000000"/>
                </a:highlight>
                <a:latin typeface="+mn-lt"/>
              </a:rPr>
              <a:t>return</a:t>
            </a:r>
            <a:r>
              <a:rPr lang="en-US" altLang="zh-CN" sz="16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6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result_df</a:t>
            </a:r>
            <a:endParaRPr lang="en-US" altLang="zh-CN" sz="1600" b="0" dirty="0">
              <a:solidFill>
                <a:srgbClr val="CCCCCC"/>
              </a:solidFill>
              <a:effectLst/>
              <a:highlight>
                <a:srgbClr val="000000"/>
              </a:highlight>
              <a:latin typeface="+mn-lt"/>
            </a:endParaRPr>
          </a:p>
          <a:p>
            <a:pPr lvl="2"/>
            <a:endParaRPr lang="en-US" altLang="zh-CN" sz="1600" b="0" dirty="0">
              <a:effectLst/>
              <a:latin typeface="+mn-lt"/>
            </a:endParaRPr>
          </a:p>
          <a:p>
            <a:pPr lvl="2"/>
            <a:endParaRPr lang="en-US" altLang="zh-CN" sz="1600" b="0" dirty="0">
              <a:effectLst/>
              <a:latin typeface="+mn-lt"/>
            </a:endParaRPr>
          </a:p>
          <a:p>
            <a:pPr lvl="2"/>
            <a:endParaRPr lang="en-US" sz="1600" dirty="0">
              <a:latin typeface="+mn-lt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r>
              <a:rPr lang="zh-CN" altLang="en-US" sz="2585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ownload data from </a:t>
            </a:r>
            <a:r>
              <a:rPr lang="en-US" sz="2000" b="1" dirty="0" err="1">
                <a:solidFill>
                  <a:srgbClr val="9B1717"/>
                </a:solidFill>
                <a:latin typeface="+mn-lt"/>
              </a:rPr>
              <a:t>Tushare</a:t>
            </a:r>
            <a:endParaRPr lang="en-US" altLang="zh-CN" sz="1600" dirty="0">
              <a:solidFill>
                <a:srgbClr val="CCCCCC"/>
              </a:solidFill>
              <a:latin typeface="+mn-lt"/>
            </a:endParaRPr>
          </a:p>
          <a:p>
            <a:pPr lvl="2">
              <a:lnSpc>
                <a:spcPct val="100000"/>
              </a:lnSpc>
              <a:spcBef>
                <a:spcPts val="1500"/>
              </a:spcBef>
            </a:pPr>
            <a:r>
              <a:rPr lang="en-US" altLang="zh-CN" sz="2000" dirty="0">
                <a:latin typeface="+mn-lt"/>
              </a:rPr>
              <a:t>Save the retrieved data in a parquet file.</a:t>
            </a:r>
            <a:br>
              <a:rPr lang="zh-CN" altLang="en-US" sz="1600" b="1" dirty="0">
                <a:solidFill>
                  <a:srgbClr val="CCCCCC"/>
                </a:solidFill>
                <a:effectLst/>
                <a:latin typeface="+mn-lt"/>
              </a:rPr>
            </a:b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# Call the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access_data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function, and </a:t>
            </a:r>
            <a:r>
              <a:rPr lang="en-US" altLang="zh-CN" sz="1800" dirty="0" err="1">
                <a:solidFill>
                  <a:srgbClr val="6A9955"/>
                </a:solidFill>
                <a:latin typeface="+mn-lt"/>
              </a:rPr>
              <a:t>ten_years_data</a:t>
            </a:r>
            <a:r>
              <a:rPr lang="en-US" altLang="zh-CN" sz="1800" dirty="0">
                <a:solidFill>
                  <a:srgbClr val="6A9955"/>
                </a:solidFill>
                <a:latin typeface="+mn-lt"/>
              </a:rPr>
              <a:t> stores the listed stocks’ data from 2014.1.1 to 2023.12.1.</a:t>
            </a:r>
            <a:endParaRPr lang="en-US" altLang="zh-CN" sz="1800" b="0" dirty="0">
              <a:solidFill>
                <a:srgbClr val="6A9955"/>
              </a:solidFill>
              <a:effectLst/>
              <a:latin typeface="+mn-lt"/>
            </a:endParaRPr>
          </a:p>
          <a:p>
            <a:pPr marL="324485" lvl="2" indent="0">
              <a:lnSpc>
                <a:spcPct val="100000"/>
              </a:lnSpc>
              <a:buNone/>
            </a:pPr>
            <a:r>
              <a:rPr lang="en-US" altLang="zh-CN" sz="1800" dirty="0">
                <a:solidFill>
                  <a:srgbClr val="9CDCFE"/>
                </a:solidFill>
                <a:latin typeface="+mn-lt"/>
              </a:rPr>
              <a:t>   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ten_years_dat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access_dat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art_date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20140101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end_date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20231201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, 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pro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pro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324485" lvl="2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   # Save </a:t>
            </a:r>
            <a:r>
              <a:rPr lang="en-US" altLang="zh-CN" sz="1800" b="0" dirty="0" err="1">
                <a:solidFill>
                  <a:srgbClr val="6A9955"/>
                </a:solidFill>
                <a:effectLst/>
                <a:latin typeface="+mn-lt"/>
              </a:rPr>
              <a:t>DataFrame</a:t>
            </a:r>
            <a:r>
              <a:rPr lang="en-US" altLang="zh-CN" sz="1800" b="0" dirty="0">
                <a:solidFill>
                  <a:srgbClr val="6A9955"/>
                </a:solidFill>
                <a:effectLst/>
                <a:latin typeface="+mn-lt"/>
              </a:rPr>
              <a:t> to Parquet File</a:t>
            </a:r>
            <a:r>
              <a:rPr lang="en-US" altLang="zh-CN" sz="1800" dirty="0">
                <a:solidFill>
                  <a:srgbClr val="6A9955"/>
                </a:solidFill>
                <a:latin typeface="+mn-lt"/>
              </a:rPr>
              <a:t>.</a:t>
            </a:r>
            <a:endParaRPr lang="en-US" altLang="zh-CN" sz="1800" b="0" dirty="0">
              <a:solidFill>
                <a:srgbClr val="6A9955"/>
              </a:solidFill>
              <a:effectLst/>
              <a:latin typeface="+mn-lt"/>
            </a:endParaRPr>
          </a:p>
          <a:p>
            <a:pPr marL="324485" lvl="2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9CDCFE"/>
                </a:solidFill>
                <a:effectLst/>
                <a:latin typeface="+mn-lt"/>
              </a:rPr>
              <a:t>   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ten_years_data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to_parquet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en_years.parquet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’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lvl="2">
              <a:lnSpc>
                <a:spcPct val="100000"/>
              </a:lnSpc>
            </a:pPr>
            <a:endParaRPr lang="en-US" altLang="zh-CN" sz="1600" b="0" dirty="0">
              <a:effectLst/>
              <a:latin typeface="+mn-lt"/>
            </a:endParaRPr>
          </a:p>
          <a:p>
            <a:pPr lvl="2">
              <a:lnSpc>
                <a:spcPct val="100000"/>
              </a:lnSpc>
            </a:pPr>
            <a:r>
              <a:rPr lang="en-US" altLang="zh-CN" sz="1600" b="1" dirty="0">
                <a:effectLst/>
                <a:latin typeface="+mn-lt"/>
              </a:rPr>
              <a:t>W</a:t>
            </a:r>
            <a:r>
              <a:rPr lang="en-US" altLang="zh-CN" sz="1600" b="1" dirty="0">
                <a:latin typeface="+mn-lt"/>
              </a:rPr>
              <a:t>hy </a:t>
            </a:r>
            <a:r>
              <a:rPr lang="en-US" altLang="zh-CN" sz="1600" b="1" dirty="0">
                <a:effectLst/>
                <a:latin typeface="+mn-lt"/>
              </a:rPr>
              <a:t>Parquet not CSV?</a:t>
            </a:r>
          </a:p>
          <a:p>
            <a:pPr marL="520065" lvl="3" indent="0">
              <a:lnSpc>
                <a:spcPct val="100000"/>
              </a:lnSpc>
              <a:buNone/>
            </a:pPr>
            <a:r>
              <a:rPr lang="en-US" altLang="zh-CN" sz="1600" b="0" dirty="0">
                <a:effectLst/>
                <a:latin typeface="+mn-lt"/>
              </a:rPr>
              <a:t>Compared to the simple CSV format, Parquet has </a:t>
            </a:r>
            <a:r>
              <a:rPr lang="en-US" altLang="zh-CN" sz="1600" b="0" u="sng" dirty="0">
                <a:effectLst/>
                <a:latin typeface="+mn-lt"/>
              </a:rPr>
              <a:t>significant advantages in storing and processing large datasets</a:t>
            </a:r>
            <a:r>
              <a:rPr lang="en-US" altLang="zh-CN" sz="1600" b="0" dirty="0">
                <a:effectLst/>
                <a:latin typeface="+mn-lt"/>
              </a:rPr>
              <a:t>:</a:t>
            </a:r>
          </a:p>
          <a:p>
            <a:pPr marL="520065" lvl="3" indent="0">
              <a:lnSpc>
                <a:spcPct val="100000"/>
              </a:lnSpc>
              <a:buNone/>
            </a:pPr>
            <a:endParaRPr lang="en-US" altLang="zh-CN" sz="1600" b="0" dirty="0">
              <a:effectLst/>
              <a:latin typeface="+mn-lt"/>
            </a:endParaRPr>
          </a:p>
          <a:p>
            <a:pPr marL="520065" lvl="3" indent="0">
              <a:lnSpc>
                <a:spcPct val="100000"/>
              </a:lnSpc>
              <a:buNone/>
            </a:pPr>
            <a:r>
              <a:rPr lang="en-US" altLang="zh-CN" sz="1600" b="1" dirty="0">
                <a:effectLst/>
                <a:latin typeface="+mn-lt"/>
              </a:rPr>
              <a:t>(1) Storage Efficiency: </a:t>
            </a:r>
            <a:r>
              <a:rPr lang="en-US" altLang="zh-CN" sz="1600" b="0" dirty="0">
                <a:effectLst/>
                <a:latin typeface="+mn-lt"/>
              </a:rPr>
              <a:t>Parquet requires much less cloud storage compared to CSV.</a:t>
            </a:r>
          </a:p>
          <a:p>
            <a:pPr marL="520065" lvl="3" indent="0">
              <a:lnSpc>
                <a:spcPct val="100000"/>
              </a:lnSpc>
              <a:buNone/>
            </a:pPr>
            <a:r>
              <a:rPr lang="en-US" altLang="zh-CN" sz="1600" b="1" dirty="0">
                <a:effectLst/>
                <a:latin typeface="+mn-lt"/>
              </a:rPr>
              <a:t>(2) Query Performance: </a:t>
            </a:r>
            <a:r>
              <a:rPr lang="en-US" altLang="zh-CN" sz="1600" b="0" dirty="0">
                <a:effectLst/>
                <a:latin typeface="+mn-lt"/>
              </a:rPr>
              <a:t>Parquet offers significantly faster query speeds than CSV, especially when handling large datasets.</a:t>
            </a:r>
          </a:p>
          <a:p>
            <a:pPr marL="520065" lvl="3" indent="0">
              <a:lnSpc>
                <a:spcPct val="100000"/>
              </a:lnSpc>
              <a:buNone/>
            </a:pPr>
            <a:r>
              <a:rPr lang="en-US" altLang="zh-CN" sz="1600" b="1" dirty="0">
                <a:effectLst/>
                <a:latin typeface="+mn-lt"/>
              </a:rPr>
              <a:t>(3) Cost Savings: </a:t>
            </a:r>
            <a:r>
              <a:rPr lang="en-US" altLang="zh-CN" sz="1600" b="0" dirty="0">
                <a:effectLst/>
                <a:latin typeface="+mn-lt"/>
              </a:rPr>
              <a:t>Using Parquet can greatly reduce storage and data scanning costs.</a:t>
            </a:r>
          </a:p>
          <a:p>
            <a:pPr lvl="2">
              <a:lnSpc>
                <a:spcPct val="100000"/>
              </a:lnSpc>
            </a:pPr>
            <a:endParaRPr lang="en-US" altLang="zh-CN" sz="1600" b="0" dirty="0">
              <a:effectLst/>
              <a:latin typeface="+mn-lt"/>
            </a:endParaRPr>
          </a:p>
          <a:p>
            <a:pPr lvl="2"/>
            <a:endParaRPr lang="en-US" sz="1600" dirty="0">
              <a:latin typeface="+mn-lt"/>
            </a:endParaRPr>
          </a:p>
        </p:txBody>
      </p:sp>
      <p:sp>
        <p:nvSpPr>
          <p:cNvPr id="6" name="标题 1"/>
          <p:cNvSpPr txBox="1"/>
          <p:nvPr/>
        </p:nvSpPr>
        <p:spPr bwMode="auto">
          <a:xfrm>
            <a:off x="379698" y="405458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90204" pitchFamily="34" charset="0"/>
              </a:defRPr>
            </a:lvl1pPr>
          </a:lstStyle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r>
              <a:rPr lang="zh-CN" altLang="en-US" sz="2585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 txBox="1"/>
          <p:nvPr/>
        </p:nvSpPr>
        <p:spPr>
          <a:xfrm>
            <a:off x="344773" y="1161542"/>
            <a:ext cx="9403035" cy="5149850"/>
          </a:xfrm>
          <a:prstGeom prst="rect">
            <a:avLst/>
          </a:prstGeom>
        </p:spPr>
        <p:txBody>
          <a:bodyPr/>
          <a:lstStyle>
            <a:lvl1pPr marL="188595" indent="-188595" algn="l" defTabSz="958215" rtl="0" eaLnBrk="1" latinLnBrk="0" hangingPunct="1">
              <a:lnSpc>
                <a:spcPct val="90000"/>
              </a:lnSpc>
              <a:spcBef>
                <a:spcPts val="1465"/>
              </a:spcBef>
              <a:buClr>
                <a:schemeClr val="bg2"/>
              </a:buClr>
              <a:buSzPct val="100000"/>
              <a:buFont typeface="Arial" panose="020B0604020202090204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1pPr>
            <a:lvl2pPr marL="325755" indent="-133985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2pPr>
            <a:lvl3pPr marL="513080" indent="-188595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90204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3pPr>
            <a:lvl4pPr marL="663575" indent="-14351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4pPr>
            <a:lvl5pPr marL="807085" indent="-14351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90204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9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9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>
                <a:srgbClr val="9B1717"/>
              </a:buClr>
              <a:defRPr/>
            </a:pPr>
            <a:r>
              <a:rPr lang="en-US" sz="2000" b="1" dirty="0">
                <a:solidFill>
                  <a:srgbClr val="9B1717"/>
                </a:solidFill>
                <a:latin typeface="+mn-lt"/>
              </a:rPr>
              <a:t>D</a:t>
            </a:r>
            <a:r>
              <a:rPr lang="en-US" altLang="zh-CN" sz="2000" b="1" dirty="0">
                <a:solidFill>
                  <a:srgbClr val="9B1717"/>
                </a:solidFill>
                <a:latin typeface="+mn-lt"/>
              </a:rPr>
              <a:t>ata import</a:t>
            </a:r>
            <a:endParaRPr lang="en-US" altLang="zh-CN" sz="1600" dirty="0">
              <a:solidFill>
                <a:srgbClr val="CCCCCC"/>
              </a:solidFill>
              <a:latin typeface="+mn-lt"/>
            </a:endParaRPr>
          </a:p>
          <a:p>
            <a:pPr lvl="2">
              <a:lnSpc>
                <a:spcPct val="100000"/>
              </a:lnSpc>
              <a:spcBef>
                <a:spcPts val="1500"/>
              </a:spcBef>
            </a:pPr>
            <a:r>
              <a:rPr lang="en-US" altLang="zh-CN" sz="2000" dirty="0" err="1">
                <a:latin typeface="+mn-lt"/>
              </a:rPr>
              <a:t>ImportData</a:t>
            </a:r>
            <a:r>
              <a:rPr lang="en-US" altLang="zh-CN" sz="2000" dirty="0">
                <a:latin typeface="+mn-lt"/>
              </a:rPr>
              <a:t> class: to facilitate the importation of stock data from stored Parquet and CSV files, compute the earnings-to-price ratio (EP factor), and output the processed data in a convenient format. </a:t>
            </a:r>
            <a:br>
              <a:rPr lang="zh-CN" altLang="en-US" sz="1600" b="1" dirty="0">
                <a:solidFill>
                  <a:srgbClr val="CCCCCC"/>
                </a:solidFill>
                <a:effectLst/>
                <a:latin typeface="+mn-lt"/>
              </a:rPr>
            </a:br>
            <a:endParaRPr lang="en-US" altLang="zh-CN" sz="1600" b="1" dirty="0">
              <a:solidFill>
                <a:srgbClr val="CCCCCC"/>
              </a:solidFill>
              <a:effectLst/>
              <a:latin typeface="+mn-lt"/>
            </a:endParaRP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class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ImportDat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):</a:t>
            </a:r>
          </a:p>
          <a:p>
            <a:pPr marL="474980" lvl="3" indent="0">
              <a:lnSpc>
                <a:spcPct val="100000"/>
              </a:lnSpc>
              <a:buNone/>
            </a:pPr>
            <a:endParaRPr lang="en-US" altLang="zh-CN" sz="1600" dirty="0">
              <a:solidFill>
                <a:srgbClr val="CCCCCC"/>
              </a:solidFill>
              <a:highlight>
                <a:srgbClr val="000000"/>
              </a:highlight>
              <a:latin typeface="+mn-lt"/>
            </a:endParaRPr>
          </a:p>
          <a:p>
            <a:pPr lvl="2">
              <a:lnSpc>
                <a:spcPct val="100000"/>
              </a:lnSpc>
            </a:pPr>
            <a:r>
              <a:rPr lang="en-US" altLang="zh-CN" sz="2000" dirty="0">
                <a:latin typeface="+mn-lt"/>
              </a:rPr>
              <a:t>__</a:t>
            </a:r>
            <a:r>
              <a:rPr lang="en-US" altLang="zh-CN" sz="2000" dirty="0" err="1">
                <a:latin typeface="+mn-lt"/>
              </a:rPr>
              <a:t>init</a:t>
            </a:r>
            <a:r>
              <a:rPr lang="en-US" altLang="zh-CN" sz="2000" dirty="0">
                <a:latin typeface="+mn-lt"/>
              </a:rPr>
              <a:t>__ method: An instance of the </a:t>
            </a:r>
            <a:r>
              <a:rPr lang="en-US" altLang="zh-CN" sz="2000" dirty="0" err="1">
                <a:latin typeface="+mn-lt"/>
              </a:rPr>
              <a:t>ImportData</a:t>
            </a:r>
            <a:r>
              <a:rPr lang="en-US" altLang="zh-CN" sz="2000" dirty="0">
                <a:latin typeface="+mn-lt"/>
              </a:rPr>
              <a:t> class is created.</a:t>
            </a:r>
          </a:p>
          <a:p>
            <a:pPr lvl="3">
              <a:lnSpc>
                <a:spcPct val="100000"/>
              </a:lnSpc>
            </a:pPr>
            <a:r>
              <a:rPr lang="en-US" altLang="zh-CN" sz="1800" dirty="0">
                <a:latin typeface="+mn-lt"/>
              </a:rPr>
              <a:t>It reads stock data from a Parquet file named </a:t>
            </a:r>
            <a:r>
              <a:rPr lang="en-US" altLang="zh-CN" sz="1800" dirty="0" err="1">
                <a:latin typeface="+mn-lt"/>
              </a:rPr>
              <a:t>ten_years.parquet</a:t>
            </a:r>
            <a:r>
              <a:rPr lang="en-US" altLang="zh-CN" sz="1800" dirty="0">
                <a:latin typeface="+mn-lt"/>
              </a:rPr>
              <a:t> using Pandas‘ </a:t>
            </a:r>
            <a:r>
              <a:rPr lang="en-US" altLang="zh-CN" sz="1800" dirty="0" err="1">
                <a:latin typeface="+mn-lt"/>
              </a:rPr>
              <a:t>read_parquet</a:t>
            </a:r>
            <a:r>
              <a:rPr lang="en-US" altLang="zh-CN" sz="1800" dirty="0">
                <a:latin typeface="+mn-lt"/>
              </a:rPr>
              <a:t> method and stores it in the </a:t>
            </a:r>
            <a:r>
              <a:rPr lang="en-US" altLang="zh-CN" sz="1800" dirty="0" err="1">
                <a:latin typeface="+mn-lt"/>
              </a:rPr>
              <a:t>self.stock_data</a:t>
            </a:r>
            <a:r>
              <a:rPr lang="en-US" altLang="zh-CN" sz="1800" dirty="0">
                <a:latin typeface="+mn-lt"/>
              </a:rPr>
              <a:t> attribute.</a:t>
            </a:r>
            <a:r>
              <a:rPr lang="zh-CN" altLang="en-US" sz="1800" dirty="0">
                <a:latin typeface="+mn-lt"/>
              </a:rPr>
              <a:t> </a:t>
            </a:r>
            <a:endParaRPr lang="en-US" altLang="zh-CN" sz="1800" dirty="0">
              <a:latin typeface="+mn-lt"/>
            </a:endParaRPr>
          </a:p>
          <a:p>
            <a:pPr lvl="3">
              <a:lnSpc>
                <a:spcPct val="100000"/>
              </a:lnSpc>
            </a:pPr>
            <a:r>
              <a:rPr lang="en-US" altLang="zh-CN" sz="1800" dirty="0">
                <a:latin typeface="+mn-lt"/>
              </a:rPr>
              <a:t>It reads industry data from a CSV file named industry.csv using Pandas‘ </a:t>
            </a:r>
            <a:r>
              <a:rPr lang="en-US" altLang="zh-CN" sz="1800" dirty="0" err="1">
                <a:latin typeface="+mn-lt"/>
              </a:rPr>
              <a:t>read_csv</a:t>
            </a:r>
            <a:r>
              <a:rPr lang="en-US" altLang="zh-CN" sz="1800" dirty="0">
                <a:latin typeface="+mn-lt"/>
              </a:rPr>
              <a:t> method and stores it in the </a:t>
            </a:r>
            <a:r>
              <a:rPr lang="en-US" altLang="zh-CN" sz="1800" dirty="0" err="1">
                <a:latin typeface="+mn-lt"/>
              </a:rPr>
              <a:t>self.industry</a:t>
            </a:r>
            <a:r>
              <a:rPr lang="en-US" altLang="zh-CN" sz="1800" dirty="0">
                <a:latin typeface="+mn-lt"/>
              </a:rPr>
              <a:t> attribute.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zh-CN" altLang="en-US" sz="1800" b="0" dirty="0">
                <a:solidFill>
                  <a:srgbClr val="CCCCCC"/>
                </a:solidFill>
                <a:effectLst/>
                <a:latin typeface="+mn-lt"/>
              </a:rPr>
              <a:t>    </a:t>
            </a:r>
            <a:r>
              <a:rPr lang="en-US" altLang="zh-CN" sz="1800" b="0" dirty="0">
                <a:solidFill>
                  <a:srgbClr val="569CD6"/>
                </a:solidFill>
                <a:effectLst/>
                <a:highlight>
                  <a:srgbClr val="000000"/>
                </a:highlight>
                <a:latin typeface="+mn-lt"/>
              </a:rPr>
              <a:t>def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__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init</a:t>
            </a:r>
            <a:r>
              <a:rPr lang="en-US" altLang="zh-CN" sz="1800" b="0" dirty="0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__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: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tock_data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pd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read_parquet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 err="1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ten_years.parquet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474980" lvl="3" indent="0">
              <a:lnSpc>
                <a:spcPct val="100000"/>
              </a:lnSpc>
              <a:buNone/>
            </a:pPr>
            <a:r>
              <a:rPr lang="en-US" altLang="zh-CN" sz="1800" b="0" dirty="0">
                <a:solidFill>
                  <a:srgbClr val="CCCCCC"/>
                </a:solidFill>
                <a:effectLst/>
                <a:latin typeface="+mn-lt"/>
              </a:rPr>
              <a:t>        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self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+mn-lt"/>
              </a:rPr>
              <a:t>industry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+mn-lt"/>
              </a:rPr>
              <a:t>=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 </a:t>
            </a:r>
            <a:r>
              <a:rPr lang="en-US" altLang="zh-CN" sz="1800" b="0" dirty="0" err="1">
                <a:solidFill>
                  <a:srgbClr val="4EC9B0"/>
                </a:solidFill>
                <a:effectLst/>
                <a:highlight>
                  <a:srgbClr val="000000"/>
                </a:highlight>
                <a:latin typeface="+mn-lt"/>
              </a:rPr>
              <a:t>pd</a:t>
            </a:r>
            <a:r>
              <a:rPr lang="en-US" altLang="zh-CN" sz="1800" b="0" dirty="0" err="1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.</a:t>
            </a:r>
            <a:r>
              <a:rPr lang="en-US" altLang="zh-CN" sz="1800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+mn-lt"/>
              </a:rPr>
              <a:t>read_csv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(</a:t>
            </a:r>
            <a:r>
              <a:rPr lang="en-US" altLang="zh-CN" sz="1800" b="0" dirty="0">
                <a:solidFill>
                  <a:srgbClr val="CE9178"/>
                </a:solidFill>
                <a:effectLst/>
                <a:highlight>
                  <a:srgbClr val="000000"/>
                </a:highlight>
                <a:latin typeface="+mn-lt"/>
              </a:rPr>
              <a:t>'industry.csv'</a:t>
            </a:r>
            <a:r>
              <a:rPr lang="en-US" altLang="zh-CN" sz="1800" b="0" dirty="0">
                <a:solidFill>
                  <a:srgbClr val="CCCCCC"/>
                </a:solidFill>
                <a:effectLst/>
                <a:highlight>
                  <a:srgbClr val="000000"/>
                </a:highlight>
                <a:latin typeface="+mn-lt"/>
              </a:rPr>
              <a:t>)</a:t>
            </a:r>
          </a:p>
          <a:p>
            <a:pPr marL="474980" lvl="3" indent="0">
              <a:buNone/>
            </a:pPr>
            <a:br>
              <a:rPr lang="en-US" altLang="zh-CN" sz="1600" b="0" dirty="0">
                <a:solidFill>
                  <a:srgbClr val="CCCCCC"/>
                </a:solidFill>
                <a:effectLst/>
                <a:latin typeface="+mn-lt"/>
              </a:rPr>
            </a:br>
            <a:r>
              <a:rPr lang="en-US" altLang="zh-CN" sz="1600" b="0" dirty="0">
                <a:effectLst/>
                <a:latin typeface="+mn-lt"/>
              </a:rPr>
              <a:t>……</a:t>
            </a:r>
            <a:endParaRPr lang="en-US" sz="1600" dirty="0">
              <a:latin typeface="+mn-lt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79698" y="405458"/>
            <a:ext cx="9368110" cy="611187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Part 2: Data Import</a:t>
            </a:r>
            <a:r>
              <a:rPr lang="zh-CN" altLang="en-US" sz="2585" dirty="0">
                <a:solidFill>
                  <a:schemeClr val="bg2"/>
                </a:solidFill>
                <a:latin typeface="+mj-lt"/>
              </a:rPr>
              <a:t> </a:t>
            </a:r>
            <a:r>
              <a:rPr lang="en-US" altLang="zh-CN" sz="2585" dirty="0">
                <a:solidFill>
                  <a:schemeClr val="bg2"/>
                </a:solidFill>
                <a:latin typeface="+mj-lt"/>
              </a:rPr>
              <a:t>(cont.)</a:t>
            </a:r>
            <a:endParaRPr lang="en-US" sz="2585" dirty="0">
              <a:solidFill>
                <a:schemeClr val="bg2"/>
              </a:solidFill>
              <a:latin typeface="+mj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25"/>
  <p:tag name="KSO_WM_UNIT_TEXT_FILL_FORE_SCHEMECOLOR_INDEX" val="13"/>
  <p:tag name="KSO_WM_UNIT_TEXT_FILL_TYPE" val="1"/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25"/>
  <p:tag name="KSO_WM_UNIT_TEXT_FILL_FORE_SCHEMECOLOR_INDEX" val="13"/>
  <p:tag name="KSO_WM_UNIT_TEXT_FILL_TYPE" val="1"/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25"/>
  <p:tag name="KSO_WM_UNIT_TEXT_FILL_FORE_SCHEMECOLOR_INDEX" val="13"/>
  <p:tag name="KSO_WM_UNIT_TEXT_FILL_TYPE" val="1"/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25"/>
  <p:tag name="KSO_WM_UNIT_TEXT_FILL_FORE_SCHEMECOLOR_INDEX" val="13"/>
  <p:tag name="KSO_WM_UNIT_TEXT_FILL_TYPE" val="1"/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.25"/>
  <p:tag name="KSO_WM_UNIT_TEXT_FILL_FORE_SCHEMECOLOR_INDEX" val="13"/>
  <p:tag name="KSO_WM_UNIT_TEXT_FILL_TYPE" val="1"/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.25"/>
  <p:tag name="KSO_WM_UNIT_FILL_FORE_SCHEMECOLOR_INDEX" val="13"/>
  <p:tag name="KSO_WM_UNIT_FILL_TYPE" val="1"/>
  <p:tag name="KSO_WM_UNIT_TEXT_FILL_FORE_SCHEMECOLOR_INDEX_BRIGHTNESS" val="0"/>
  <p:tag name="KSO_WM_UNIT_TEXT_FILL_FORE_SCHEMECOLOR_INDEX" val="13"/>
  <p:tag name="KSO_WM_UNIT_TEXT_FILL_TYPE" val="1"/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231.15,&quot;left&quot;:41.25,&quot;top&quot;:87.35,&quot;width&quot;:674.7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231.15,&quot;left&quot;:41.25,&quot;top&quot;:87.35,&quot;width&quot;:674.7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DIAGRAM_VIRTUALLY_FRAME" val="{&quot;height&quot;:231.15,&quot;left&quot;:41.25,&quot;top&quot;:87.35,&quot;width&quot;:674.7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90204" pitchFamily="34" charset="0"/>
            <a:cs typeface="Arial" panose="020B060402020209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90204" pitchFamily="34" charset="0"/>
            <a:cs typeface="Arial" panose="020B060402020209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90204" pitchFamily="34" charset="0"/>
            <a:cs typeface="Arial" panose="020B060402020209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90204" pitchFamily="34" charset="0"/>
            <a:cs typeface="Arial" panose="020B060402020209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TK Color 2012_01">
    <a:dk1>
      <a:srgbClr val="000000"/>
    </a:dk1>
    <a:lt1>
      <a:srgbClr val="FFFFFF"/>
    </a:lt1>
    <a:dk2>
      <a:srgbClr val="778242"/>
    </a:dk2>
    <a:lt2>
      <a:srgbClr val="9B1717"/>
    </a:lt2>
    <a:accent1>
      <a:srgbClr val="364086"/>
    </a:accent1>
    <a:accent2>
      <a:srgbClr val="EFEEEC"/>
    </a:accent2>
    <a:accent3>
      <a:srgbClr val="ADABA1"/>
    </a:accent3>
    <a:accent4>
      <a:srgbClr val="858274"/>
    </a:accent4>
    <a:accent5>
      <a:srgbClr val="FCA248"/>
    </a:accent5>
    <a:accent6>
      <a:srgbClr val="CDD773"/>
    </a:accent6>
    <a:hlink>
      <a:srgbClr val="364086"/>
    </a:hlink>
    <a:folHlink>
      <a:srgbClr val="A3AAD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46</Words>
  <Application>Microsoft Office PowerPoint</Application>
  <PresentationFormat>自定义</PresentationFormat>
  <Paragraphs>216</Paragraphs>
  <Slides>32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2</vt:i4>
      </vt:variant>
    </vt:vector>
  </HeadingPairs>
  <TitlesOfParts>
    <vt:vector size="43" baseType="lpstr">
      <vt:lpstr>PMingLiU</vt:lpstr>
      <vt:lpstr>微软雅黑 Light</vt:lpstr>
      <vt:lpstr>Arial</vt:lpstr>
      <vt:lpstr>Arial Bold</vt:lpstr>
      <vt:lpstr>Palatino Linotype</vt:lpstr>
      <vt:lpstr>Times New Roman</vt:lpstr>
      <vt:lpstr>Vrinda</vt:lpstr>
      <vt:lpstr>CR Onlytext</vt:lpstr>
      <vt:lpstr>1_CR Onlytext</vt:lpstr>
      <vt:lpstr>think-cell Slide</vt:lpstr>
      <vt:lpstr>AxMath</vt:lpstr>
      <vt:lpstr>EP Factor Backtesting  for Quantitative Financial Investment </vt:lpstr>
      <vt:lpstr>Content</vt:lpstr>
      <vt:lpstr>Part 1: Introduction</vt:lpstr>
      <vt:lpstr>Part 1: Introduction (cont.)</vt:lpstr>
      <vt:lpstr>Part 1: Introduction (cont.)</vt:lpstr>
      <vt:lpstr>Part 2: Data Import</vt:lpstr>
      <vt:lpstr>Part 2: Data Import (cont.)</vt:lpstr>
      <vt:lpstr>PowerPoint 演示文稿</vt:lpstr>
      <vt:lpstr>Part 2: Data Import (cont.)</vt:lpstr>
      <vt:lpstr>Part 2: Data Import (cont.)</vt:lpstr>
      <vt:lpstr>Part 2: Data Import (cont.)</vt:lpstr>
      <vt:lpstr>Part 2: Data Import (cont.)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art 3: Data Preprocess  —  Comparison (cont.)</vt:lpstr>
      <vt:lpstr>Part 4: Stock Selection Strategy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4</cp:revision>
  <dcterms:created xsi:type="dcterms:W3CDTF">2024-11-06T11:16:48Z</dcterms:created>
  <dcterms:modified xsi:type="dcterms:W3CDTF">2024-11-14T11:17:26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9296346B2D6DD7B320502B67DDDA8C65_43</vt:lpwstr>
  </property>
  <property fmtid="{D5CDD505-2E9C-101B-9397-08002B2CF9AE}" pid="3" name="KSOProductBuildVer">
    <vt:lpwstr>2052-6.12.1.8902</vt:lpwstr>
  </property>
</Properties>
</file>